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7" r:id="rId2"/>
  </p:sldMasterIdLst>
  <p:notesMasterIdLst>
    <p:notesMasterId r:id="rId55"/>
  </p:notesMasterIdLst>
  <p:handoutMasterIdLst>
    <p:handoutMasterId r:id="rId56"/>
  </p:handoutMasterIdLst>
  <p:sldIdLst>
    <p:sldId id="409" r:id="rId3"/>
    <p:sldId id="466" r:id="rId4"/>
    <p:sldId id="352" r:id="rId5"/>
    <p:sldId id="443" r:id="rId6"/>
    <p:sldId id="448" r:id="rId7"/>
    <p:sldId id="334" r:id="rId8"/>
    <p:sldId id="449" r:id="rId9"/>
    <p:sldId id="450" r:id="rId10"/>
    <p:sldId id="454" r:id="rId11"/>
    <p:sldId id="426" r:id="rId12"/>
    <p:sldId id="427" r:id="rId13"/>
    <p:sldId id="428" r:id="rId14"/>
    <p:sldId id="429" r:id="rId15"/>
    <p:sldId id="430" r:id="rId16"/>
    <p:sldId id="431" r:id="rId17"/>
    <p:sldId id="455" r:id="rId18"/>
    <p:sldId id="438" r:id="rId19"/>
    <p:sldId id="439" r:id="rId20"/>
    <p:sldId id="440" r:id="rId21"/>
    <p:sldId id="441" r:id="rId22"/>
    <p:sldId id="442" r:id="rId23"/>
    <p:sldId id="444" r:id="rId24"/>
    <p:sldId id="445" r:id="rId25"/>
    <p:sldId id="312" r:id="rId26"/>
    <p:sldId id="446" r:id="rId27"/>
    <p:sldId id="296" r:id="rId28"/>
    <p:sldId id="303" r:id="rId29"/>
    <p:sldId id="304" r:id="rId30"/>
    <p:sldId id="305" r:id="rId31"/>
    <p:sldId id="306" r:id="rId32"/>
    <p:sldId id="307" r:id="rId33"/>
    <p:sldId id="308" r:id="rId34"/>
    <p:sldId id="309" r:id="rId35"/>
    <p:sldId id="310" r:id="rId36"/>
    <p:sldId id="311" r:id="rId37"/>
    <p:sldId id="462" r:id="rId38"/>
    <p:sldId id="313" r:id="rId39"/>
    <p:sldId id="314" r:id="rId40"/>
    <p:sldId id="315" r:id="rId41"/>
    <p:sldId id="316" r:id="rId42"/>
    <p:sldId id="317" r:id="rId43"/>
    <p:sldId id="318" r:id="rId44"/>
    <p:sldId id="319" r:id="rId45"/>
    <p:sldId id="463" r:id="rId46"/>
    <p:sldId id="464" r:id="rId47"/>
    <p:sldId id="320" r:id="rId48"/>
    <p:sldId id="321" r:id="rId49"/>
    <p:sldId id="322" r:id="rId50"/>
    <p:sldId id="323" r:id="rId51"/>
    <p:sldId id="465" r:id="rId52"/>
    <p:sldId id="460" r:id="rId53"/>
    <p:sldId id="301" r:id="rId5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83" autoAdjust="0"/>
    <p:restoredTop sz="92756" autoAdjust="0"/>
  </p:normalViewPr>
  <p:slideViewPr>
    <p:cSldViewPr snapToGrid="0">
      <p:cViewPr varScale="1">
        <p:scale>
          <a:sx n="147" d="100"/>
          <a:sy n="147" d="100"/>
        </p:scale>
        <p:origin x="4716" y="120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6</c:f>
              <c:strCache>
                <c:ptCount val="1"/>
                <c:pt idx="0">
                  <c:v>Action Val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5:$I$5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E$6:$I$6</c:f>
              <c:numCache>
                <c:formatCode>General</c:formatCode>
                <c:ptCount val="5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D1-4E39-8594-807CF40D77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1162928"/>
        <c:axId val="597261688"/>
      </c:barChart>
      <c:catAx>
        <c:axId val="40116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7261688"/>
        <c:crosses val="autoZero"/>
        <c:auto val="1"/>
        <c:lblAlgn val="ctr"/>
        <c:lblOffset val="100"/>
        <c:noMultiLvlLbl val="0"/>
      </c:catAx>
      <c:valAx>
        <c:axId val="597261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116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势函数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10</c:f>
              <c:strCache>
                <c:ptCount val="1"/>
                <c:pt idx="0">
                  <c:v>Advantageous Val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9:$I$9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E$10:$I$10</c:f>
              <c:numCache>
                <c:formatCode>General</c:formatCode>
                <c:ptCount val="5"/>
                <c:pt idx="0">
                  <c:v>-2</c:v>
                </c:pt>
                <c:pt idx="1">
                  <c:v>2</c:v>
                </c:pt>
                <c:pt idx="2">
                  <c:v>-1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1E-43C2-A42C-DB0E638B69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0703928"/>
        <c:axId val="700701368"/>
      </c:barChart>
      <c:catAx>
        <c:axId val="700703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0701368"/>
        <c:crosses val="autoZero"/>
        <c:auto val="1"/>
        <c:lblAlgn val="ctr"/>
        <c:lblOffset val="100"/>
        <c:noMultiLvlLbl val="0"/>
      </c:catAx>
      <c:valAx>
        <c:axId val="70070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0703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25737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800" b="0" i="0" u="none" strike="noStrike" baseline="0" dirty="0">
                <a:latin typeface="NimbusRomNo9L-Regu"/>
              </a:rPr>
              <a:t>common random numbers (CRN) to reduce the varianc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8547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jpg"/><Relationship Id="rId1" Type="http://schemas.openxmlformats.org/officeDocument/2006/relationships/slideLayout" Target="../slideLayouts/slideLayout1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medium.com/emergent-future/simple-reinforcement-learning-with-tensorflow-part-8-asynchronous-actor-critic-agents-a3c-c88f72a5e9f2" TargetMode="External"/><Relationship Id="rId4" Type="http://schemas.openxmlformats.org/officeDocument/2006/relationships/image" Target="NUL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emergent-future/simple-reinforcement-learning-with-tensorflow-part-8-asynchronous-actor-critic-agents-a3c-c88f72a5e9f2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image" Target="../media/image10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0.png"/><Relationship Id="rId5" Type="http://schemas.openxmlformats.org/officeDocument/2006/relationships/image" Target="../media/image800.png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5" Type="http://schemas.openxmlformats.org/officeDocument/2006/relationships/image" Target="../media/image9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0.png"/><Relationship Id="rId4" Type="http://schemas.openxmlformats.org/officeDocument/2006/relationships/image" Target="../media/image12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13" Type="http://schemas.openxmlformats.org/officeDocument/2006/relationships/image" Target="../media/image24.png"/><Relationship Id="rId7" Type="http://schemas.openxmlformats.org/officeDocument/2006/relationships/image" Target="../media/image171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162.png"/><Relationship Id="rId5" Type="http://schemas.openxmlformats.org/officeDocument/2006/relationships/image" Target="../media/image150.png"/><Relationship Id="rId9" Type="http://schemas.openxmlformats.org/officeDocument/2006/relationships/image" Target="../media/image19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0.png"/><Relationship Id="rId4" Type="http://schemas.openxmlformats.org/officeDocument/2006/relationships/image" Target="../media/image210.png"/><Relationship Id="rId9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6" Type="http://schemas.openxmlformats.org/officeDocument/2006/relationships/image" Target="../media/image250.png"/><Relationship Id="rId5" Type="http://schemas.openxmlformats.org/officeDocument/2006/relationships/image" Target="../media/image24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1.png"/><Relationship Id="rId7" Type="http://schemas.openxmlformats.org/officeDocument/2006/relationships/image" Target="../media/image27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.xml"/><Relationship Id="rId9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Relationship Id="rId4" Type="http://schemas.openxmlformats.org/officeDocument/2006/relationships/image" Target="../media/image21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7" Type="http://schemas.openxmlformats.org/officeDocument/2006/relationships/image" Target="../media/image35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png"/><Relationship Id="rId5" Type="http://schemas.openxmlformats.org/officeDocument/2006/relationships/image" Target="../media/image29.gif"/><Relationship Id="rId4" Type="http://schemas.openxmlformats.org/officeDocument/2006/relationships/image" Target="../media/image28.gif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707.06347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0.png"/><Relationship Id="rId7" Type="http://schemas.openxmlformats.org/officeDocument/2006/relationships/image" Target="../media/image31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3.png"/><Relationship Id="rId9" Type="http://schemas.openxmlformats.org/officeDocument/2006/relationships/image" Target="../media/image93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7" Type="http://schemas.openxmlformats.org/officeDocument/2006/relationships/image" Target="../media/image13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png"/><Relationship Id="rId5" Type="http://schemas.openxmlformats.org/officeDocument/2006/relationships/image" Target="../media/image110.png"/><Relationship Id="rId4" Type="http://schemas.openxmlformats.org/officeDocument/2006/relationships/image" Target="../media/image1000.png"/><Relationship Id="rId9" Type="http://schemas.openxmlformats.org/officeDocument/2006/relationships/image" Target="../media/image151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7" Type="http://schemas.openxmlformats.org/officeDocument/2006/relationships/image" Target="../media/image17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0.png"/><Relationship Id="rId5" Type="http://schemas.openxmlformats.org/officeDocument/2006/relationships/image" Target="../media/image1000.png"/><Relationship Id="rId4" Type="http://schemas.openxmlformats.org/officeDocument/2006/relationships/image" Target="../media/image160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01.png"/><Relationship Id="rId4" Type="http://schemas.openxmlformats.org/officeDocument/2006/relationships/image" Target="../media/image19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1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策略方法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8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神经网络的策略梯度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3C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确定性梯度策略、深度确定性策略梯度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3C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6B5E5303-3B62-43E6-B88A-B3215FF4C5A4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582878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复习：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ctor-Critic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5" y="1271823"/>
                <a:ext cx="8487445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-Criti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思想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INFORCE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方法：使用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罗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直接估计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什么不建立一个可训练的值函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b="0" i="0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Φ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完成这个估计过程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演员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和评论家（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riti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5" y="1271823"/>
                <a:ext cx="8487445" cy="4820752"/>
              </a:xfrm>
              <a:prstGeom prst="rect">
                <a:avLst/>
              </a:prstGeom>
              <a:blipFill>
                <a:blip r:embed="rId4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圆角矩形 8"/>
          <p:cNvSpPr/>
          <p:nvPr/>
        </p:nvSpPr>
        <p:spPr>
          <a:xfrm>
            <a:off x="681738" y="3491193"/>
            <a:ext cx="7844119" cy="2197797"/>
          </a:xfrm>
          <a:prstGeom prst="roundRect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E0DC718-3993-4229-B6AA-D6343E0D990C}"/>
              </a:ext>
            </a:extLst>
          </p:cNvPr>
          <p:cNvGrpSpPr/>
          <p:nvPr/>
        </p:nvGrpSpPr>
        <p:grpSpPr>
          <a:xfrm>
            <a:off x="962226" y="3790345"/>
            <a:ext cx="1873770" cy="1243397"/>
            <a:chOff x="1008887" y="3099461"/>
            <a:chExt cx="1873770" cy="1243397"/>
          </a:xfrm>
        </p:grpSpPr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8CE516A3-934A-4F68-BF8F-812D9D46C76C}"/>
                </a:ext>
              </a:extLst>
            </p:cNvPr>
            <p:cNvSpPr txBox="1"/>
            <p:nvPr/>
          </p:nvSpPr>
          <p:spPr>
            <a:xfrm>
              <a:off x="1008887" y="3142529"/>
              <a:ext cx="187377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演员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endParaRPr lang="en-US" altLang="zh-CN" dirty="0">
                <a:solidFill>
                  <a:srgbClr val="00B0F0"/>
                </a:solidFill>
              </a:endParaRPr>
            </a:p>
            <a:p>
              <a:r>
                <a:rPr lang="zh-CN" altLang="en-US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采取动作使评论家满意的策略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7EA93FD5-8019-47FC-900D-1F7A4FF71599}"/>
                    </a:ext>
                  </a:extLst>
                </p:cNvPr>
                <p:cNvSpPr txBox="1"/>
                <p:nvPr/>
              </p:nvSpPr>
              <p:spPr>
                <a:xfrm>
                  <a:off x="1777900" y="3099461"/>
                  <a:ext cx="101906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7EA93FD5-8019-47FC-900D-1F7A4FF715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77900" y="3099461"/>
                  <a:ext cx="1019061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50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E24A318-B1DC-454E-B275-E2B5EC40B7C9}"/>
              </a:ext>
            </a:extLst>
          </p:cNvPr>
          <p:cNvGrpSpPr/>
          <p:nvPr/>
        </p:nvGrpSpPr>
        <p:grpSpPr>
          <a:xfrm>
            <a:off x="6457949" y="3780193"/>
            <a:ext cx="1913585" cy="1487480"/>
            <a:chOff x="939709" y="3094636"/>
            <a:chExt cx="1913585" cy="1487480"/>
          </a:xfrm>
        </p:grpSpPr>
        <p:sp>
          <p:nvSpPr>
            <p:cNvPr id="12" name="文本框 5">
              <a:extLst>
                <a:ext uri="{FF2B5EF4-FFF2-40B4-BE49-F238E27FC236}">
                  <a16:creationId xmlns:a16="http://schemas.microsoft.com/office/drawing/2014/main" id="{4D5CD014-7714-4FCB-BED2-0BEB426A65B5}"/>
                </a:ext>
              </a:extLst>
            </p:cNvPr>
            <p:cNvSpPr txBox="1"/>
            <p:nvPr/>
          </p:nvSpPr>
          <p:spPr>
            <a:xfrm>
              <a:off x="939709" y="3104788"/>
              <a:ext cx="1873770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评论家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endParaRPr lang="en-US" altLang="zh-CN" dirty="0">
                <a:solidFill>
                  <a:srgbClr val="00B0F0"/>
                </a:solidFill>
              </a:endParaRPr>
            </a:p>
            <a:p>
              <a:r>
                <a:rPr lang="zh-CN" altLang="en-US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学会准确估计演员策略所采取动作价值的值函数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3EEFB8E-A437-4680-8221-A6670A4FD66D}"/>
                    </a:ext>
                  </a:extLst>
                </p:cNvPr>
                <p:cNvSpPr txBox="1"/>
                <p:nvPr/>
              </p:nvSpPr>
              <p:spPr>
                <a:xfrm>
                  <a:off x="1775948" y="3094636"/>
                  <a:ext cx="107734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Φ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3EEFB8E-A437-4680-8221-A6670A4FD6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75948" y="3094636"/>
                  <a:ext cx="1077346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14754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6" name="图片 4">
            <a:extLst>
              <a:ext uri="{FF2B5EF4-FFF2-40B4-BE49-F238E27FC236}">
                <a16:creationId xmlns:a16="http://schemas.microsoft.com/office/drawing/2014/main" id="{07617FEF-60FD-4EDF-9815-51A47882EF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75498" y="3491193"/>
            <a:ext cx="3203446" cy="2197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28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复习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2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：优势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ctor-Critic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思想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过减去一个基线函数来标准化评论家的打分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多信息指导：降低较差动作概率，提高较优动作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一步降低方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势函数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dvantage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unctio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  <a:blipFill>
                <a:blip r:embed="rId4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图表 6">
            <a:extLst>
              <a:ext uri="{FF2B5EF4-FFF2-40B4-BE49-F238E27FC236}">
                <a16:creationId xmlns:a16="http://schemas.microsoft.com/office/drawing/2014/main" id="{153589EA-61EF-4385-9637-DE8D75C4CB66}"/>
              </a:ext>
            </a:extLst>
          </p:cNvPr>
          <p:cNvGraphicFramePr>
            <a:graphicFrameLocks/>
          </p:cNvGraphicFramePr>
          <p:nvPr/>
        </p:nvGraphicFramePr>
        <p:xfrm>
          <a:off x="1164772" y="3928199"/>
          <a:ext cx="3178627" cy="1914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图表 7">
            <a:extLst>
              <a:ext uri="{FF2B5EF4-FFF2-40B4-BE49-F238E27FC236}">
                <a16:creationId xmlns:a16="http://schemas.microsoft.com/office/drawing/2014/main" id="{890BD87F-798F-45D0-A9F6-A41FF9655164}"/>
              </a:ext>
            </a:extLst>
          </p:cNvPr>
          <p:cNvGraphicFramePr>
            <a:graphicFrameLocks/>
          </p:cNvGraphicFramePr>
          <p:nvPr/>
        </p:nvGraphicFramePr>
        <p:xfrm>
          <a:off x="4572000" y="3928199"/>
          <a:ext cx="3194957" cy="1918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803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3C: </a:t>
            </a:r>
            <a:r>
              <a:rPr lang="zh-CN" altLang="en-US" dirty="0"/>
              <a:t>异步</a:t>
            </a:r>
            <a:r>
              <a:rPr lang="en-US" altLang="zh-CN" dirty="0"/>
              <a:t>A2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137922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3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代表了异步优势动作评价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dirty="0"/>
                  <a:t>Asynchronous Advantage Actor Criti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异步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synchronou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：因为算法涉及并行执行一组环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势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dvantage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：因为策略梯度的更新使用优势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评价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 Criti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：因为这是一种动作评价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-criti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方法，它涉及一个在学得的状态值函数帮助下进行更新的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∇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log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𝜋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;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𝑣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𝑣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0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1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p>
                          </m:sSup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𝑘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;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𝑣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𝑣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137922" cy="4936268"/>
              </a:xfrm>
              <a:prstGeom prst="rect">
                <a:avLst/>
              </a:prstGeom>
              <a:blipFill>
                <a:blip r:embed="rId4"/>
                <a:stretch>
                  <a:fillRect l="-449" r="-119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3">
            <a:extLst>
              <a:ext uri="{FF2B5EF4-FFF2-40B4-BE49-F238E27FC236}">
                <a16:creationId xmlns:a16="http://schemas.microsoft.com/office/drawing/2014/main" id="{6F54359D-0DBB-4B2E-9F45-F8A1E1BB3976}"/>
              </a:ext>
            </a:extLst>
          </p:cNvPr>
          <p:cNvSpPr/>
          <p:nvPr/>
        </p:nvSpPr>
        <p:spPr>
          <a:xfrm>
            <a:off x="449705" y="6216695"/>
            <a:ext cx="682052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50" dirty="0">
                <a:hlinkClick r:id="rId5"/>
              </a:rPr>
              <a:t>https://medium.com/emergent-future/simple-reinforcement-learning-with-tensorflow-part-8-asynchronous-actor-critic-agents-a3c-c88f72a5e9f2</a:t>
            </a:r>
            <a:endParaRPr lang="zh-CN" altLang="en-US" sz="105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37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s://miro.medium.com/max/2436/1*YtnGhtSAMnnHSL8PvS7t_w.png">
            <a:extLst>
              <a:ext uri="{FF2B5EF4-FFF2-40B4-BE49-F238E27FC236}">
                <a16:creationId xmlns:a16="http://schemas.microsoft.com/office/drawing/2014/main" id="{7CA48F3D-35D7-414F-80A7-DE74017B09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8" b="3557"/>
          <a:stretch/>
        </p:blipFill>
        <p:spPr bwMode="auto">
          <a:xfrm>
            <a:off x="1529301" y="1086785"/>
            <a:ext cx="6175643" cy="505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3C: </a:t>
            </a:r>
            <a:r>
              <a:rPr lang="zh-CN" altLang="en-US" dirty="0"/>
              <a:t>异步</a:t>
            </a:r>
            <a:r>
              <a:rPr lang="en-US" altLang="zh-CN" dirty="0"/>
              <a:t>A2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6" name="矩形 3">
            <a:extLst>
              <a:ext uri="{FF2B5EF4-FFF2-40B4-BE49-F238E27FC236}">
                <a16:creationId xmlns:a16="http://schemas.microsoft.com/office/drawing/2014/main" id="{6F54359D-0DBB-4B2E-9F45-F8A1E1BB3976}"/>
              </a:ext>
            </a:extLst>
          </p:cNvPr>
          <p:cNvSpPr/>
          <p:nvPr/>
        </p:nvSpPr>
        <p:spPr>
          <a:xfrm>
            <a:off x="449705" y="6216695"/>
            <a:ext cx="682052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50" dirty="0">
                <a:hlinkClick r:id="rId3"/>
              </a:rPr>
              <a:t>https://medium.com/emergent-future/simple-reinforcement-learning-with-tensorflow-part-8-asynchronous-actor-critic-agents-a3c-c88f72a5e9f2</a:t>
            </a:r>
            <a:endParaRPr lang="zh-CN" altLang="en-US" sz="105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195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3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B9FC4B1F-E43E-4BA4-88D0-5C639C0BA5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326" y="1077039"/>
            <a:ext cx="7974048" cy="5331795"/>
          </a:xfrm>
          <a:prstGeom prst="rect">
            <a:avLst/>
          </a:prstGeom>
        </p:spPr>
      </p:pic>
      <p:sp>
        <p:nvSpPr>
          <p:cNvPr id="5" name="矩形 3">
            <a:extLst>
              <a:ext uri="{FF2B5EF4-FFF2-40B4-BE49-F238E27FC236}">
                <a16:creationId xmlns:a16="http://schemas.microsoft.com/office/drawing/2014/main" id="{E184790A-6B42-40CD-A97F-50082E708A48}"/>
              </a:ext>
            </a:extLst>
          </p:cNvPr>
          <p:cNvSpPr/>
          <p:nvPr/>
        </p:nvSpPr>
        <p:spPr>
          <a:xfrm>
            <a:off x="389745" y="6418605"/>
            <a:ext cx="682052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50" dirty="0">
                <a:solidFill>
                  <a:srgbClr val="00B0F0"/>
                </a:solidFill>
              </a:rPr>
              <a:t>Volodymyr </a:t>
            </a:r>
            <a:r>
              <a:rPr lang="en-US" altLang="zh-CN" sz="1050" dirty="0" err="1">
                <a:solidFill>
                  <a:srgbClr val="00B0F0"/>
                </a:solidFill>
              </a:rPr>
              <a:t>Mnih</a:t>
            </a:r>
            <a:r>
              <a:rPr lang="en-US" altLang="zh-CN" sz="1050" dirty="0">
                <a:solidFill>
                  <a:srgbClr val="00B0F0"/>
                </a:solidFill>
              </a:rPr>
              <a:t> et al. Asynchronous Methods for Deep Reinforcement Learning. NIPS 2016.</a:t>
            </a:r>
            <a:endParaRPr lang="zh-CN" altLang="en-US" sz="105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2172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0D6DCD6-19E0-4200-A366-54BE7A26A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4CDA1CF-6D96-4FCF-B5E0-47DED57DD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922" y="2"/>
            <a:ext cx="7862444" cy="1028699"/>
          </a:xfrm>
        </p:spPr>
        <p:txBody>
          <a:bodyPr/>
          <a:lstStyle/>
          <a:p>
            <a:r>
              <a:rPr lang="en-US" altLang="zh-CN" dirty="0"/>
              <a:t>A3C</a:t>
            </a:r>
            <a:r>
              <a:rPr lang="zh-CN" altLang="en-US" dirty="0"/>
              <a:t>对比实验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D68D724-B3E1-4972-8B84-96AFFAD3C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4329"/>
            <a:ext cx="9144000" cy="2092235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B9BF75F-BF92-4CFE-82BB-AA4EAF2CE0F0}"/>
              </a:ext>
            </a:extLst>
          </p:cNvPr>
          <p:cNvSpPr/>
          <p:nvPr/>
        </p:nvSpPr>
        <p:spPr>
          <a:xfrm>
            <a:off x="502443" y="3338545"/>
            <a:ext cx="81545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/>
              <a:t>a single Nvidia K40 GPU while the asynchronous methods were trained using 16 CPU cores</a:t>
            </a:r>
            <a:endParaRPr lang="zh-CN" altLang="en-US" sz="14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F7B3594-79B6-4A9F-8DB6-50AD3C5CE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922" y="3762935"/>
            <a:ext cx="5536406" cy="223542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E8E27532-8D07-4FC4-8911-19CB100F9351}"/>
              </a:ext>
            </a:extLst>
          </p:cNvPr>
          <p:cNvSpPr/>
          <p:nvPr/>
        </p:nvSpPr>
        <p:spPr>
          <a:xfrm>
            <a:off x="907576" y="5926535"/>
            <a:ext cx="5179325" cy="313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latin typeface="NimbusRomNo9L-Regu"/>
              </a:rPr>
              <a:t>Mean and median human-normalized scores on 57 Atari games</a:t>
            </a:r>
            <a:endParaRPr lang="zh-CN" altLang="en-US" sz="1400" dirty="0"/>
          </a:p>
        </p:txBody>
      </p:sp>
      <p:sp>
        <p:nvSpPr>
          <p:cNvPr id="9" name="矩形 3">
            <a:extLst>
              <a:ext uri="{FF2B5EF4-FFF2-40B4-BE49-F238E27FC236}">
                <a16:creationId xmlns:a16="http://schemas.microsoft.com/office/drawing/2014/main" id="{42DB3EB4-9624-4682-AD00-6B79282AAC42}"/>
              </a:ext>
            </a:extLst>
          </p:cNvPr>
          <p:cNvSpPr/>
          <p:nvPr/>
        </p:nvSpPr>
        <p:spPr>
          <a:xfrm>
            <a:off x="389745" y="6418605"/>
            <a:ext cx="682052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50" dirty="0">
                <a:solidFill>
                  <a:srgbClr val="00B0F0"/>
                </a:solidFill>
              </a:rPr>
              <a:t>Volodymyr </a:t>
            </a:r>
            <a:r>
              <a:rPr lang="en-US" altLang="zh-CN" sz="1050" dirty="0" err="1">
                <a:solidFill>
                  <a:srgbClr val="00B0F0"/>
                </a:solidFill>
              </a:rPr>
              <a:t>Mnih</a:t>
            </a:r>
            <a:r>
              <a:rPr lang="en-US" altLang="zh-CN" sz="1050" dirty="0">
                <a:solidFill>
                  <a:srgbClr val="00B0F0"/>
                </a:solidFill>
              </a:rPr>
              <a:t> et al. Asynchronous Methods for Deep Reinforcement Learning. NIPS 2016.</a:t>
            </a:r>
            <a:endParaRPr lang="zh-CN" altLang="en-US" sz="1050" dirty="0">
              <a:solidFill>
                <a:srgbClr val="00B0F0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7D39F42-B3B2-4D86-BF75-9E2C79D1DE0B}"/>
              </a:ext>
            </a:extLst>
          </p:cNvPr>
          <p:cNvSpPr/>
          <p:nvPr/>
        </p:nvSpPr>
        <p:spPr>
          <a:xfrm>
            <a:off x="6604048" y="5380209"/>
            <a:ext cx="23358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/>
              <a:t>16 CPU cores and no GPU</a:t>
            </a:r>
            <a:endParaRPr lang="zh-CN" altLang="en-US" sz="1400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2D37B6A-ECEC-49CB-8ADC-88183170C4DB}"/>
              </a:ext>
            </a:extLst>
          </p:cNvPr>
          <p:cNvSpPr/>
          <p:nvPr/>
        </p:nvSpPr>
        <p:spPr>
          <a:xfrm>
            <a:off x="6766731" y="4476865"/>
            <a:ext cx="15648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>
                <a:latin typeface="NimbusRomNo9L-Regu"/>
              </a:rPr>
              <a:t>Nvidia K40 GPUs</a:t>
            </a:r>
            <a:endParaRPr lang="zh-CN" altLang="en-US" sz="1600" dirty="0"/>
          </a:p>
        </p:txBody>
      </p:sp>
      <p:sp>
        <p:nvSpPr>
          <p:cNvPr id="2" name="右大括号 1">
            <a:extLst>
              <a:ext uri="{FF2B5EF4-FFF2-40B4-BE49-F238E27FC236}">
                <a16:creationId xmlns:a16="http://schemas.microsoft.com/office/drawing/2014/main" id="{F4E73BAA-DED8-4D4C-BD43-12ABBE0EC8FF}"/>
              </a:ext>
            </a:extLst>
          </p:cNvPr>
          <p:cNvSpPr/>
          <p:nvPr/>
        </p:nvSpPr>
        <p:spPr>
          <a:xfrm>
            <a:off x="6314328" y="4135272"/>
            <a:ext cx="229773" cy="1019261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右大括号 11">
            <a:extLst>
              <a:ext uri="{FF2B5EF4-FFF2-40B4-BE49-F238E27FC236}">
                <a16:creationId xmlns:a16="http://schemas.microsoft.com/office/drawing/2014/main" id="{0A9BF482-8CA7-4829-9048-7F1E808E4966}"/>
              </a:ext>
            </a:extLst>
          </p:cNvPr>
          <p:cNvSpPr/>
          <p:nvPr/>
        </p:nvSpPr>
        <p:spPr>
          <a:xfrm>
            <a:off x="6314328" y="5229436"/>
            <a:ext cx="229773" cy="632522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31287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确定性策略梯度</a:t>
            </a: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A147DA2A-8D7F-40AF-8801-FC53AC705F7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39628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的分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137923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价值的方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及其扩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随机策略的方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神经网络的策略梯度，自然策略梯度，信任区域策略优化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近端策略优化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3C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确定性策略的方法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b="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梯度（</a:t>
            </a:r>
            <a:r>
              <a:rPr lang="en-US" altLang="zh-CN" b="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b="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b="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</a:p>
        </p:txBody>
      </p:sp>
    </p:spTree>
    <p:extLst>
      <p:ext uri="{BB962C8B-B14F-4D97-AF65-F5344CB8AC3E}">
        <p14:creationId xmlns:p14="http://schemas.microsoft.com/office/powerpoint/2010/main" val="1541894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随机策略与确定性策略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策略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A0C228-D6D5-4BA0-AA0C-07576D1F5581}"/>
              </a:ext>
            </a:extLst>
          </p:cNvPr>
          <p:cNvSpPr txBox="1"/>
          <p:nvPr/>
        </p:nvSpPr>
        <p:spPr>
          <a:xfrm>
            <a:off x="824836" y="1903869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离散动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098C2C-13CE-4F22-8959-EC3C3BC091F5}"/>
              </a:ext>
            </a:extLst>
          </p:cNvPr>
          <p:cNvSpPr txBox="1"/>
          <p:nvPr/>
        </p:nvSpPr>
        <p:spPr>
          <a:xfrm>
            <a:off x="824836" y="2603371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连续动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5DE4965-C81F-4E16-A590-182F104F7BCF}"/>
                  </a:ext>
                </a:extLst>
              </p:cNvPr>
              <p:cNvSpPr txBox="1"/>
              <p:nvPr/>
            </p:nvSpPr>
            <p:spPr>
              <a:xfrm>
                <a:off x="2816295" y="1736708"/>
                <a:ext cx="3511409" cy="7344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</a:rPr>
                                <m:t>exp</m:t>
                              </m:r>
                            </m:fName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{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)}</m:t>
                              </m:r>
                            </m:e>
                          </m:func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sz="2000" b="0" i="0" smtClean="0">
                                      <a:latin typeface="Cambria Math" panose="02040503050406030204" pitchFamily="18" charset="0"/>
                                    </a:rPr>
                                    <m:t>exp</m:t>
                                  </m:r>
                                </m:fName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{</m:t>
                                  </m:r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′)}</m:t>
                                  </m:r>
                                </m:e>
                              </m:func>
                            </m:e>
                          </m:nary>
                        </m:den>
                      </m:f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5DE4965-C81F-4E16-A590-182F104F7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16295" y="1736708"/>
                <a:ext cx="3511409" cy="7344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58333E7-880B-434C-B2F2-13AE8D30FCDE}"/>
                  </a:ext>
                </a:extLst>
              </p:cNvPr>
              <p:cNvSpPr txBox="1"/>
              <p:nvPr/>
            </p:nvSpPr>
            <p:spPr>
              <a:xfrm>
                <a:off x="2816295" y="2525529"/>
                <a:ext cx="3633046" cy="55579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exp</m:t>
                          </m:r>
                        </m:fName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𝜇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func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58333E7-880B-434C-B2F2-13AE8D30FC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16295" y="2525529"/>
                <a:ext cx="3633046" cy="5557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AF576FCD-34BB-4FEE-8D29-C02D210C273F}"/>
              </a:ext>
            </a:extLst>
          </p:cNvPr>
          <p:cNvSpPr txBox="1"/>
          <p:nvPr/>
        </p:nvSpPr>
        <p:spPr>
          <a:xfrm>
            <a:off x="833444" y="4074720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离散动作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F4573F-B985-4BB1-94AD-B605619E4ABC}"/>
              </a:ext>
            </a:extLst>
          </p:cNvPr>
          <p:cNvSpPr txBox="1"/>
          <p:nvPr/>
        </p:nvSpPr>
        <p:spPr>
          <a:xfrm>
            <a:off x="833444" y="4774222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连续动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41D9B7E-9CFB-4E6E-B765-EAED4E3662C4}"/>
                  </a:ext>
                </a:extLst>
              </p:cNvPr>
              <p:cNvSpPr txBox="1"/>
              <p:nvPr/>
            </p:nvSpPr>
            <p:spPr>
              <a:xfrm>
                <a:off x="3007148" y="4069243"/>
                <a:ext cx="3129703" cy="494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;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=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2000" b="0" i="0" smtClean="0"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func>
                        </m:e>
                      </m:func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41D9B7E-9CFB-4E6E-B765-EAED4E3662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7148" y="4069243"/>
                <a:ext cx="3129703" cy="4949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DC9F70F-6210-49A0-B293-26B3B0C820F0}"/>
                  </a:ext>
                </a:extLst>
              </p:cNvPr>
              <p:cNvSpPr txBox="1"/>
              <p:nvPr/>
            </p:nvSpPr>
            <p:spPr>
              <a:xfrm>
                <a:off x="3616013" y="4760054"/>
                <a:ext cx="149412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;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DC9F70F-6210-49A0-B293-26B3B0C820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6013" y="4760054"/>
                <a:ext cx="1494127" cy="400110"/>
              </a:xfrm>
              <a:prstGeom prst="rect">
                <a:avLst/>
              </a:prstGeom>
              <a:blipFill>
                <a:blip r:embed="rId7"/>
                <a:stretch>
                  <a:fillRect b="-184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id="{B5FAD557-C60E-42FF-A552-95482AE0431D}"/>
              </a:ext>
            </a:extLst>
          </p:cNvPr>
          <p:cNvSpPr txBox="1"/>
          <p:nvPr/>
        </p:nvSpPr>
        <p:spPr>
          <a:xfrm>
            <a:off x="6327703" y="4147438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可微</a:t>
            </a:r>
          </a:p>
        </p:txBody>
      </p:sp>
      <p:sp>
        <p:nvSpPr>
          <p:cNvPr id="15" name="文本框 13">
            <a:extLst>
              <a:ext uri="{FF2B5EF4-FFF2-40B4-BE49-F238E27FC236}">
                <a16:creationId xmlns:a16="http://schemas.microsoft.com/office/drawing/2014/main" id="{EEC46D84-2B99-49AB-999F-488D975FE7CE}"/>
              </a:ext>
            </a:extLst>
          </p:cNvPr>
          <p:cNvSpPr txBox="1"/>
          <p:nvPr/>
        </p:nvSpPr>
        <p:spPr>
          <a:xfrm>
            <a:off x="6327703" y="4790832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微</a:t>
            </a:r>
          </a:p>
        </p:txBody>
      </p:sp>
    </p:spTree>
    <p:extLst>
      <p:ext uri="{BB962C8B-B14F-4D97-AF65-F5344CB8AC3E}">
        <p14:creationId xmlns:p14="http://schemas.microsoft.com/office/powerpoint/2010/main" val="52050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FF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确定性策略梯度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19983"/>
                <a:ext cx="8137922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于估计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值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评论家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riti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模块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≃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𝐿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𝑤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策略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策略梯度定理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𝑤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∇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</m:sub>
                      </m:sSub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|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∇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∇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𝑤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19983"/>
                <a:ext cx="8137922" cy="493626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0">
            <a:extLst>
              <a:ext uri="{FF2B5EF4-FFF2-40B4-BE49-F238E27FC236}">
                <a16:creationId xmlns:a16="http://schemas.microsoft.com/office/drawing/2014/main" id="{2D5490A2-A259-4876-9485-1060ADE97708}"/>
              </a:ext>
            </a:extLst>
          </p:cNvPr>
          <p:cNvSpPr txBox="1"/>
          <p:nvPr/>
        </p:nvSpPr>
        <p:spPr>
          <a:xfrm>
            <a:off x="3374286" y="5008844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线策略</a:t>
            </a:r>
          </a:p>
        </p:txBody>
      </p:sp>
      <p:sp>
        <p:nvSpPr>
          <p:cNvPr id="17" name="文本框 10">
            <a:extLst>
              <a:ext uri="{FF2B5EF4-FFF2-40B4-BE49-F238E27FC236}">
                <a16:creationId xmlns:a16="http://schemas.microsoft.com/office/drawing/2014/main" id="{40D16F18-C59C-4312-86C6-E9032238C5C3}"/>
              </a:ext>
            </a:extLst>
          </p:cNvPr>
          <p:cNvSpPr txBox="1"/>
          <p:nvPr/>
        </p:nvSpPr>
        <p:spPr>
          <a:xfrm>
            <a:off x="4940477" y="5008843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链式法则</a:t>
            </a:r>
          </a:p>
        </p:txBody>
      </p:sp>
      <p:sp>
        <p:nvSpPr>
          <p:cNvPr id="18" name="矩形 11">
            <a:extLst>
              <a:ext uri="{FF2B5EF4-FFF2-40B4-BE49-F238E27FC236}">
                <a16:creationId xmlns:a16="http://schemas.microsoft.com/office/drawing/2014/main" id="{3E4980F2-1D7C-4285-9797-47B9896C9CFF}"/>
              </a:ext>
            </a:extLst>
          </p:cNvPr>
          <p:cNvSpPr/>
          <p:nvPr/>
        </p:nvSpPr>
        <p:spPr>
          <a:xfrm>
            <a:off x="584786" y="6193727"/>
            <a:ext cx="47887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D.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Silver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et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al.</a:t>
            </a:r>
            <a:r>
              <a:rPr lang="zh-CN" altLang="en-US" sz="1200" dirty="0">
                <a:solidFill>
                  <a:srgbClr val="00B0F0"/>
                </a:solidFill>
              </a:rPr>
              <a:t> Deterministic Policy Gradient Algorithms</a:t>
            </a:r>
            <a:r>
              <a:rPr lang="en-US" altLang="zh-CN" sz="1200" dirty="0">
                <a:solidFill>
                  <a:srgbClr val="00B0F0"/>
                </a:solidFill>
              </a:rPr>
              <a:t>. ICML 2014.</a:t>
            </a:r>
            <a:endParaRPr lang="zh-CN" altLang="en-US" sz="12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3195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8DD7A8E7-9F55-4CE9-B91F-E8DC929EF0C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4057"/>
          <a:stretch/>
        </p:blipFill>
        <p:spPr>
          <a:xfrm>
            <a:off x="1326472" y="1255108"/>
            <a:ext cx="6640957" cy="2707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FF04C8D-FBB0-4F1F-AEE3-31D9F55E8E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507"/>
          <a:stretch/>
        </p:blipFill>
        <p:spPr>
          <a:xfrm>
            <a:off x="4750699" y="3870441"/>
            <a:ext cx="3272354" cy="270769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确定性策略梯度实验效果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16" name="文本框 10">
            <a:extLst>
              <a:ext uri="{FF2B5EF4-FFF2-40B4-BE49-F238E27FC236}">
                <a16:creationId xmlns:a16="http://schemas.microsoft.com/office/drawing/2014/main" id="{2D5490A2-A259-4876-9485-1060ADE97708}"/>
              </a:ext>
            </a:extLst>
          </p:cNvPr>
          <p:cNvSpPr txBox="1"/>
          <p:nvPr/>
        </p:nvSpPr>
        <p:spPr>
          <a:xfrm>
            <a:off x="681738" y="4189211"/>
            <a:ext cx="389026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OPDAC-Q: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当时论文提出的</a:t>
            </a:r>
            <a:r>
              <a:rPr lang="zh-CN" altLang="en-US" dirty="0"/>
              <a:t>确定性策略梯度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ff-polic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A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随机梯度策略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n-polic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ffPAC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TD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随机梯度策略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ff-polic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8" name="矩形 11">
            <a:extLst>
              <a:ext uri="{FF2B5EF4-FFF2-40B4-BE49-F238E27FC236}">
                <a16:creationId xmlns:a16="http://schemas.microsoft.com/office/drawing/2014/main" id="{3E4980F2-1D7C-4285-9797-47B9896C9CFF}"/>
              </a:ext>
            </a:extLst>
          </p:cNvPr>
          <p:cNvSpPr/>
          <p:nvPr/>
        </p:nvSpPr>
        <p:spPr>
          <a:xfrm>
            <a:off x="584786" y="6193727"/>
            <a:ext cx="47887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D.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Silver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et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al.</a:t>
            </a:r>
            <a:r>
              <a:rPr lang="zh-CN" altLang="en-US" sz="1200" dirty="0">
                <a:solidFill>
                  <a:srgbClr val="00B0F0"/>
                </a:solidFill>
              </a:rPr>
              <a:t> Deterministic Policy Gradient Algorithms</a:t>
            </a:r>
            <a:r>
              <a:rPr lang="en-US" altLang="zh-CN" sz="1200" dirty="0">
                <a:solidFill>
                  <a:srgbClr val="00B0F0"/>
                </a:solidFill>
              </a:rPr>
              <a:t>. ICML 2014.</a:t>
            </a:r>
            <a:endParaRPr lang="zh-CN" altLang="en-US" sz="12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8223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确定性策略梯度</a:t>
            </a: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376F8382-25CC-4A71-B634-8620BF43AE6B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83260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DPG</a:t>
            </a:r>
            <a:r>
              <a:rPr lang="zh-CN" altLang="en-US" dirty="0"/>
              <a:t>：深度确定性策略梯度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93555"/>
                <a:ext cx="8137922" cy="459008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确定性策略的梯度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∇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</m:sub>
                      </m:sSub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|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∇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∇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实际应用中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这种带有</a:t>
                </a:r>
                <a:r>
                  <a:rPr lang="zh-CN" altLang="en-US" b="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神经函数近似器的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-criti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方法在面对有挑战性的问题时是</a:t>
                </a:r>
                <a:r>
                  <a:rPr lang="zh-CN" altLang="en-US" b="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稳定的</a:t>
                </a:r>
                <a:endParaRPr lang="en-US" altLang="zh-CN" b="0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深度确定性策略梯度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DP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给出了在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策略梯度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P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基础上的解决方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经验重放（离线策略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网络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动作输入前批标准化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网络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添加连续噪声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93555"/>
                <a:ext cx="8137922" cy="4590084"/>
              </a:xfrm>
              <a:prstGeom prst="rect">
                <a:avLst/>
              </a:prstGeom>
              <a:blipFill>
                <a:blip r:embed="rId4"/>
                <a:stretch>
                  <a:fillRect l="-449" t="-664" r="-8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5">
            <a:extLst>
              <a:ext uri="{FF2B5EF4-FFF2-40B4-BE49-F238E27FC236}">
                <a16:creationId xmlns:a16="http://schemas.microsoft.com/office/drawing/2014/main" id="{20224B8F-CCBC-480B-AB32-3A4D16DAABDB}"/>
              </a:ext>
            </a:extLst>
          </p:cNvPr>
          <p:cNvSpPr/>
          <p:nvPr/>
        </p:nvSpPr>
        <p:spPr>
          <a:xfrm>
            <a:off x="551234" y="6189765"/>
            <a:ext cx="60688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err="1">
                <a:solidFill>
                  <a:srgbClr val="00B0F0"/>
                </a:solidFill>
                <a:latin typeface="NimbusRomNo9L-Medi"/>
              </a:rPr>
              <a:t>Lillicrap</a:t>
            </a:r>
            <a:r>
              <a:rPr lang="en-US" altLang="zh-CN" sz="1400" dirty="0">
                <a:solidFill>
                  <a:srgbClr val="00B0F0"/>
                </a:solidFill>
                <a:latin typeface="NimbusRomNo9L-Medi"/>
              </a:rPr>
              <a:t> et al. Continuous control with deep reinforcement learning. NIPS 2015.</a:t>
            </a:r>
            <a:endParaRPr lang="zh-CN" altLang="en-US" sz="1400" dirty="0">
              <a:solidFill>
                <a:srgbClr val="00B0F0"/>
              </a:solidFill>
              <a:latin typeface="NimbusRomNo9L-Medi"/>
            </a:endParaRPr>
          </a:p>
        </p:txBody>
      </p:sp>
    </p:spTree>
    <p:extLst>
      <p:ext uri="{BB962C8B-B14F-4D97-AF65-F5344CB8AC3E}">
        <p14:creationId xmlns:p14="http://schemas.microsoft.com/office/powerpoint/2010/main" val="21456179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>
            <a:extLst>
              <a:ext uri="{FF2B5EF4-FFF2-40B4-BE49-F238E27FC236}">
                <a16:creationId xmlns:a16="http://schemas.microsoft.com/office/drawing/2014/main" id="{4EC68737-AAD6-4283-8C79-CD3790D6BD69}"/>
              </a:ext>
            </a:extLst>
          </p:cNvPr>
          <p:cNvGrpSpPr/>
          <p:nvPr/>
        </p:nvGrpSpPr>
        <p:grpSpPr>
          <a:xfrm>
            <a:off x="1186853" y="1170343"/>
            <a:ext cx="6770294" cy="4928477"/>
            <a:chOff x="1186853" y="1170343"/>
            <a:chExt cx="6770294" cy="4928477"/>
          </a:xfrm>
        </p:grpSpPr>
        <p:pic>
          <p:nvPicPr>
            <p:cNvPr id="7" name="图片 3">
              <a:extLst>
                <a:ext uri="{FF2B5EF4-FFF2-40B4-BE49-F238E27FC236}">
                  <a16:creationId xmlns:a16="http://schemas.microsoft.com/office/drawing/2014/main" id="{ED973C40-678A-431F-8EA7-769CCD681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86853" y="1170343"/>
              <a:ext cx="6770294" cy="4928477"/>
            </a:xfrm>
            <a:prstGeom prst="rect">
              <a:avLst/>
            </a:prstGeom>
          </p:spPr>
        </p:pic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959FDDC8-A6ED-4850-A7C2-54F46754E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54743" y="3784589"/>
              <a:ext cx="133357" cy="212736"/>
            </a:xfrm>
            <a:prstGeom prst="rect">
              <a:avLst/>
            </a:prstGeom>
          </p:spPr>
        </p:pic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DPG</a:t>
            </a:r>
            <a:r>
              <a:rPr lang="zh-CN" altLang="en-US" dirty="0"/>
              <a:t>：深度确定性策略梯度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8" name="矩形: 圆角 4">
            <a:extLst>
              <a:ext uri="{FF2B5EF4-FFF2-40B4-BE49-F238E27FC236}">
                <a16:creationId xmlns:a16="http://schemas.microsoft.com/office/drawing/2014/main" id="{C797BA09-23B0-468D-B990-77EC4985712A}"/>
              </a:ext>
            </a:extLst>
          </p:cNvPr>
          <p:cNvSpPr/>
          <p:nvPr/>
        </p:nvSpPr>
        <p:spPr>
          <a:xfrm>
            <a:off x="2630184" y="2768886"/>
            <a:ext cx="1417834" cy="307777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文本框 5">
            <a:extLst>
              <a:ext uri="{FF2B5EF4-FFF2-40B4-BE49-F238E27FC236}">
                <a16:creationId xmlns:a16="http://schemas.microsoft.com/office/drawing/2014/main" id="{1D776F53-28A3-4C41-9B68-796845819FB0}"/>
              </a:ext>
            </a:extLst>
          </p:cNvPr>
          <p:cNvSpPr txBox="1"/>
          <p:nvPr/>
        </p:nvSpPr>
        <p:spPr>
          <a:xfrm>
            <a:off x="3941058" y="2534997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上的噪声</a:t>
            </a:r>
          </a:p>
        </p:txBody>
      </p:sp>
      <p:sp>
        <p:nvSpPr>
          <p:cNvPr id="10" name="矩形: 圆角 4">
            <a:extLst>
              <a:ext uri="{FF2B5EF4-FFF2-40B4-BE49-F238E27FC236}">
                <a16:creationId xmlns:a16="http://schemas.microsoft.com/office/drawing/2014/main" id="{B11DFEEF-537E-4274-8B78-5975E1CB9CC6}"/>
              </a:ext>
            </a:extLst>
          </p:cNvPr>
          <p:cNvSpPr/>
          <p:nvPr/>
        </p:nvSpPr>
        <p:spPr>
          <a:xfrm>
            <a:off x="4750698" y="3336967"/>
            <a:ext cx="1629553" cy="307777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文本框 5">
            <a:extLst>
              <a:ext uri="{FF2B5EF4-FFF2-40B4-BE49-F238E27FC236}">
                <a16:creationId xmlns:a16="http://schemas.microsoft.com/office/drawing/2014/main" id="{812121D1-8C5F-4502-8472-DD535CB1DE95}"/>
              </a:ext>
            </a:extLst>
          </p:cNvPr>
          <p:cNvSpPr txBox="1"/>
          <p:nvPr/>
        </p:nvSpPr>
        <p:spPr>
          <a:xfrm>
            <a:off x="6380251" y="3336966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线策略</a:t>
            </a:r>
          </a:p>
        </p:txBody>
      </p:sp>
      <p:sp>
        <p:nvSpPr>
          <p:cNvPr id="12" name="文本框 5">
            <a:extLst>
              <a:ext uri="{FF2B5EF4-FFF2-40B4-BE49-F238E27FC236}">
                <a16:creationId xmlns:a16="http://schemas.microsoft.com/office/drawing/2014/main" id="{ACDB506A-8A06-45AE-90C6-D8E52207144B}"/>
              </a:ext>
            </a:extLst>
          </p:cNvPr>
          <p:cNvSpPr txBox="1"/>
          <p:nvPr/>
        </p:nvSpPr>
        <p:spPr>
          <a:xfrm>
            <a:off x="6380251" y="3735688"/>
            <a:ext cx="25394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</a:t>
            </a:r>
            <a:r>
              <a:rPr lang="en-US" altLang="zh-CN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ritic</a:t>
            </a:r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（</a:t>
            </a:r>
            <a:r>
              <a:rPr lang="en-US" altLang="zh-CN" sz="1400" i="1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</a:t>
            </a:r>
            <a:r>
              <a:rPr lang="en-US" altLang="zh-CN" sz="1400" i="1" baseline="-25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 </a:t>
            </a:r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带有噪声）</a:t>
            </a:r>
          </a:p>
        </p:txBody>
      </p:sp>
      <p:sp>
        <p:nvSpPr>
          <p:cNvPr id="13" name="文本框 5">
            <a:extLst>
              <a:ext uri="{FF2B5EF4-FFF2-40B4-BE49-F238E27FC236}">
                <a16:creationId xmlns:a16="http://schemas.microsoft.com/office/drawing/2014/main" id="{98AEC240-AC85-4838-A27F-EC9EE8C18475}"/>
              </a:ext>
            </a:extLst>
          </p:cNvPr>
          <p:cNvSpPr txBox="1"/>
          <p:nvPr/>
        </p:nvSpPr>
        <p:spPr>
          <a:xfrm>
            <a:off x="6380251" y="4663277"/>
            <a:ext cx="1340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</a:t>
            </a:r>
            <a:r>
              <a:rPr lang="en-US" altLang="zh-CN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ctor</a:t>
            </a:r>
            <a:r>
              <a:rPr lang="zh-CN" altLang="en-US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</a:t>
            </a:r>
          </a:p>
        </p:txBody>
      </p:sp>
      <p:cxnSp>
        <p:nvCxnSpPr>
          <p:cNvPr id="15" name="直接箭头连接符 12">
            <a:extLst>
              <a:ext uri="{FF2B5EF4-FFF2-40B4-BE49-F238E27FC236}">
                <a16:creationId xmlns:a16="http://schemas.microsoft.com/office/drawing/2014/main" id="{F7C5C768-CA36-4169-9416-C5A49D81934A}"/>
              </a:ext>
            </a:extLst>
          </p:cNvPr>
          <p:cNvCxnSpPr>
            <a:cxnSpLocks/>
          </p:cNvCxnSpPr>
          <p:nvPr/>
        </p:nvCxnSpPr>
        <p:spPr>
          <a:xfrm flipV="1">
            <a:off x="2406595" y="3781338"/>
            <a:ext cx="1056807" cy="8976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直接箭头连接符 10">
            <a:extLst>
              <a:ext uri="{FF2B5EF4-FFF2-40B4-BE49-F238E27FC236}">
                <a16:creationId xmlns:a16="http://schemas.microsoft.com/office/drawing/2014/main" id="{9B964F18-7F40-4150-B7AE-C6A84FD36799}"/>
              </a:ext>
            </a:extLst>
          </p:cNvPr>
          <p:cNvCxnSpPr/>
          <p:nvPr/>
        </p:nvCxnSpPr>
        <p:spPr>
          <a:xfrm flipV="1">
            <a:off x="2420322" y="3792379"/>
            <a:ext cx="419724" cy="50217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文本框 5">
            <a:extLst>
              <a:ext uri="{FF2B5EF4-FFF2-40B4-BE49-F238E27FC236}">
                <a16:creationId xmlns:a16="http://schemas.microsoft.com/office/drawing/2014/main" id="{A95D86F2-EBA3-4385-886A-A74026CF9BA6}"/>
              </a:ext>
            </a:extLst>
          </p:cNvPr>
          <p:cNvSpPr txBox="1"/>
          <p:nvPr/>
        </p:nvSpPr>
        <p:spPr>
          <a:xfrm>
            <a:off x="1105538" y="4230154"/>
            <a:ext cx="1314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</a:t>
            </a:r>
            <a:r>
              <a:rPr lang="en-US" altLang="zh-CN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ritic</a:t>
            </a:r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</a:t>
            </a:r>
          </a:p>
        </p:txBody>
      </p:sp>
      <p:sp>
        <p:nvSpPr>
          <p:cNvPr id="18" name="文本框 5">
            <a:extLst>
              <a:ext uri="{FF2B5EF4-FFF2-40B4-BE49-F238E27FC236}">
                <a16:creationId xmlns:a16="http://schemas.microsoft.com/office/drawing/2014/main" id="{CCF6DED6-4845-4ED3-884B-FF12DB748D83}"/>
              </a:ext>
            </a:extLst>
          </p:cNvPr>
          <p:cNvSpPr txBox="1"/>
          <p:nvPr/>
        </p:nvSpPr>
        <p:spPr>
          <a:xfrm>
            <a:off x="1105538" y="4628876"/>
            <a:ext cx="1340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</a:t>
            </a:r>
            <a:r>
              <a:rPr lang="en-US" altLang="zh-CN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ctor</a:t>
            </a:r>
            <a:r>
              <a:rPr lang="zh-CN" altLang="en-US" sz="1400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FC5A5F9D-345C-E892-BBB6-587CCDD86C52}"/>
              </a:ext>
            </a:extLst>
          </p:cNvPr>
          <p:cNvSpPr/>
          <p:nvPr/>
        </p:nvSpPr>
        <p:spPr>
          <a:xfrm>
            <a:off x="551234" y="6189765"/>
            <a:ext cx="60688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err="1">
                <a:solidFill>
                  <a:srgbClr val="00B0F0"/>
                </a:solidFill>
                <a:latin typeface="NimbusRomNo9L-Medi"/>
              </a:rPr>
              <a:t>Lillicrap</a:t>
            </a:r>
            <a:r>
              <a:rPr lang="en-US" altLang="zh-CN" sz="1400" dirty="0">
                <a:solidFill>
                  <a:srgbClr val="00B0F0"/>
                </a:solidFill>
                <a:latin typeface="NimbusRomNo9L-Medi"/>
              </a:rPr>
              <a:t> et al. Continuous control with deep reinforcement learning. NIPS 2015.</a:t>
            </a:r>
            <a:endParaRPr lang="zh-CN" altLang="en-US" sz="1400" dirty="0">
              <a:solidFill>
                <a:srgbClr val="00B0F0"/>
              </a:solidFill>
              <a:latin typeface="NimbusRomNo9L-Medi"/>
            </a:endParaRPr>
          </a:p>
        </p:txBody>
      </p:sp>
    </p:spTree>
    <p:extLst>
      <p:ext uri="{BB962C8B-B14F-4D97-AF65-F5344CB8AC3E}">
        <p14:creationId xmlns:p14="http://schemas.microsoft.com/office/powerpoint/2010/main" val="19751758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深度确定性策略梯度实验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3994003"/>
            <a:ext cx="8461064" cy="2145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b="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梯度</a:t>
            </a:r>
            <a:r>
              <a:rPr lang="zh-CN" altLang="en-US" sz="1800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sz="1800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sz="1800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及其变种在一系列经典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强化学习任务中的</a:t>
            </a:r>
            <a:r>
              <a:rPr lang="zh-CN" altLang="en-US" sz="1800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表现曲线</a:t>
            </a:r>
            <a:endParaRPr lang="en-US" altLang="zh-CN" sz="1800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浅灰色：使用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批标准化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原始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暗灰色：使用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网络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原始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绿色：同时使用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网络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批标准化</a:t>
            </a:r>
            <a:endParaRPr lang="en-US" altLang="zh-CN" sz="160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蓝色：使用仅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像素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作为输入的</a:t>
            </a:r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网络</a:t>
            </a:r>
            <a:endParaRPr lang="en-US" altLang="zh-CN" sz="160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600" b="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网络至关重要</a:t>
            </a:r>
            <a:endParaRPr lang="en-US" altLang="zh-CN" sz="1800" b="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sz="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图片 3">
            <a:extLst>
              <a:ext uri="{FF2B5EF4-FFF2-40B4-BE49-F238E27FC236}">
                <a16:creationId xmlns:a16="http://schemas.microsoft.com/office/drawing/2014/main" id="{FD46512B-0FEC-4912-A08F-D4B60CF90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493" y="1079399"/>
            <a:ext cx="8783013" cy="2896396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4EE762B5-2965-267B-D17E-C63B351AD3A8}"/>
              </a:ext>
            </a:extLst>
          </p:cNvPr>
          <p:cNvSpPr/>
          <p:nvPr/>
        </p:nvSpPr>
        <p:spPr>
          <a:xfrm>
            <a:off x="551234" y="6189765"/>
            <a:ext cx="60688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err="1">
                <a:solidFill>
                  <a:srgbClr val="00B0F0"/>
                </a:solidFill>
                <a:latin typeface="NimbusRomNo9L-Medi"/>
              </a:rPr>
              <a:t>Lillicrap</a:t>
            </a:r>
            <a:r>
              <a:rPr lang="en-US" altLang="zh-CN" sz="1400" dirty="0">
                <a:solidFill>
                  <a:srgbClr val="00B0F0"/>
                </a:solidFill>
                <a:latin typeface="NimbusRomNo9L-Medi"/>
              </a:rPr>
              <a:t> et al. Continuous control with deep reinforcement learning. NIPS 2015.</a:t>
            </a:r>
            <a:endParaRPr lang="zh-CN" altLang="en-US" sz="1400" dirty="0">
              <a:solidFill>
                <a:srgbClr val="00B0F0"/>
              </a:solidFill>
              <a:latin typeface="NimbusRomNo9L-Medi"/>
            </a:endParaRPr>
          </a:p>
        </p:txBody>
      </p:sp>
    </p:spTree>
    <p:extLst>
      <p:ext uri="{BB962C8B-B14F-4D97-AF65-F5344CB8AC3E}">
        <p14:creationId xmlns:p14="http://schemas.microsoft.com/office/powerpoint/2010/main" val="26107434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317728" y="3653728"/>
            <a:ext cx="53022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信任区域策略优化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RPO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2036916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策略梯度的缺点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002626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2815617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en-US" altLang="zh-CN" dirty="0"/>
              <a:t>TRPO</a:t>
            </a:r>
            <a:r>
              <a:rPr kumimoji="1" lang="zh-CN" altLang="en-US" dirty="0"/>
              <a:t>算法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2781327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5" name="文本占位符 5">
            <a:extLst>
              <a:ext uri="{FF2B5EF4-FFF2-40B4-BE49-F238E27FC236}">
                <a16:creationId xmlns:a16="http://schemas.microsoft.com/office/drawing/2014/main" id="{4CCFA1BF-34CB-604A-B62B-AB839F51554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99300" y="3594318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策略改进的单调性保证</a:t>
            </a:r>
          </a:p>
        </p:txBody>
      </p: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B5892E99-D5CB-BA43-A1FD-4A7C9253512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428196" y="3560028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35E19413-6B7B-784E-A6B8-01A75A5FD1C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199300" y="4373019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实验结果</a:t>
            </a:r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A17EEDD9-C74B-6949-B908-973B6F607D6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428196" y="4338729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4025" y="2839168"/>
            <a:ext cx="4599502" cy="1220215"/>
          </a:xfrm>
        </p:spPr>
        <p:txBody>
          <a:bodyPr>
            <a:normAutofit/>
          </a:bodyPr>
          <a:lstStyle/>
          <a:p>
            <a:pPr algn="l"/>
            <a:r>
              <a:rPr kumimoji="1" lang="zh-CN" altLang="en-US" sz="4000" dirty="0"/>
              <a:t>策略梯度的缺点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86509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梯度算法回顾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42" y="3796748"/>
            <a:ext cx="4383743" cy="435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页脚占位符 2">
            <a:extLst>
              <a:ext uri="{FF2B5EF4-FFF2-40B4-BE49-F238E27FC236}">
                <a16:creationId xmlns:a16="http://schemas.microsoft.com/office/drawing/2014/main" id="{803FB9BB-AF48-4FE7-938B-621C29626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6B079222-2365-4D1C-8C02-EBB7D7105B45}"/>
              </a:ext>
            </a:extLst>
          </p:cNvPr>
          <p:cNvSpPr txBox="1">
            <a:spLocks/>
          </p:cNvSpPr>
          <p:nvPr/>
        </p:nvSpPr>
        <p:spPr>
          <a:xfrm>
            <a:off x="502442" y="1257589"/>
            <a:ext cx="6410681" cy="456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策略梯度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INFORC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864ED39-4973-4817-82E8-325BC89A12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621475"/>
                <a:ext cx="9325049" cy="159648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zh-CN" altLang="en-US" sz="180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时刻的状态，动作和奖励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zh-CN" altLang="en-US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en-US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使用的策略，表示策略所使用的参数</a:t>
                </a:r>
                <a:endPara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累计奖励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zh-CN" altLang="en-US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长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864ED39-4973-4817-82E8-325BC89A12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21475"/>
                <a:ext cx="9325049" cy="1596481"/>
              </a:xfrm>
              <a:prstGeom prst="rect">
                <a:avLst/>
              </a:prstGeom>
              <a:blipFill>
                <a:blip r:embed="rId5"/>
                <a:stretch>
                  <a:fillRect l="-261" t="-1908" b="-458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5ACC83B0-F43C-4478-901A-9D93363F8425}"/>
              </a:ext>
            </a:extLst>
          </p:cNvPr>
          <p:cNvSpPr txBox="1">
            <a:spLocks/>
          </p:cNvSpPr>
          <p:nvPr/>
        </p:nvSpPr>
        <p:spPr>
          <a:xfrm>
            <a:off x="502441" y="4163063"/>
            <a:ext cx="138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相关定义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9DDC5AE3-DA83-91E9-E8BD-08982BE1E40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92744" y="1802340"/>
                <a:ext cx="6235242" cy="26060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nitialize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arbitrarily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or each episode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s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r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s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T</m:t>
                            </m:r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T</m:t>
                            </m:r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r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𝑇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do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for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to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1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do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𝜕</m:t>
                        </m:r>
                      </m:num>
                      <m:den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𝜕𝜃</m:t>
                        </m:r>
                      </m:den>
                    </m:f>
                    <m:r>
                      <m:rPr>
                        <m:sty m:val="p"/>
                      </m:rP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log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dirty="0">
                  <a:latin typeface="Consolas" panose="020B0609020204030204" pitchFamily="49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end for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nd for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turn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9DDC5AE3-DA83-91E9-E8BD-08982BE1E4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92744" y="1802340"/>
                <a:ext cx="6235242" cy="2606059"/>
              </a:xfrm>
              <a:prstGeom prst="rect">
                <a:avLst/>
              </a:prstGeom>
              <a:blipFill>
                <a:blip r:embed="rId6"/>
                <a:stretch>
                  <a:fillRect t="-9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矩形 13">
            <a:extLst>
              <a:ext uri="{FF2B5EF4-FFF2-40B4-BE49-F238E27FC236}">
                <a16:creationId xmlns:a16="http://schemas.microsoft.com/office/drawing/2014/main" id="{D1C7BABC-2D70-3BC5-AC06-C7A54262E071}"/>
              </a:ext>
            </a:extLst>
          </p:cNvPr>
          <p:cNvSpPr/>
          <p:nvPr/>
        </p:nvSpPr>
        <p:spPr>
          <a:xfrm>
            <a:off x="2091190" y="1737389"/>
            <a:ext cx="5745079" cy="24785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75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4" y="361507"/>
            <a:ext cx="7870345" cy="679131"/>
          </a:xfrm>
        </p:spPr>
        <p:txBody>
          <a:bodyPr/>
          <a:lstStyle/>
          <a:p>
            <a:r>
              <a:rPr lang="zh-CN" altLang="en-US" dirty="0"/>
              <a:t>深度强化学习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515A53-D28B-4149-8676-420D29BF5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3638967"/>
            <a:ext cx="8137922" cy="2807878"/>
          </a:xfrm>
        </p:spPr>
        <p:txBody>
          <a:bodyPr>
            <a:normAutofit/>
          </a:bodyPr>
          <a:lstStyle/>
          <a:p>
            <a:r>
              <a:rPr lang="zh-CN" altLang="en-US" dirty="0"/>
              <a:t>直面理解：深度学习</a:t>
            </a:r>
            <a:r>
              <a:rPr lang="en-US" altLang="zh-CN" dirty="0"/>
              <a:t>+</a:t>
            </a:r>
            <a:r>
              <a:rPr lang="zh-CN" altLang="en-US" dirty="0"/>
              <a:t>强化学习</a:t>
            </a:r>
            <a:endParaRPr lang="en-US" altLang="zh-CN" dirty="0"/>
          </a:p>
          <a:p>
            <a:r>
              <a:rPr lang="zh-CN" altLang="en-US" dirty="0"/>
              <a:t>深度强化学习使强化学习算法能够以端到端的方式解决复杂问题</a:t>
            </a:r>
          </a:p>
          <a:p>
            <a:r>
              <a:rPr lang="zh-CN" altLang="en-US" dirty="0"/>
              <a:t>真正让强化学习有能力完成实际决策任务</a:t>
            </a:r>
            <a:endParaRPr lang="en-US" altLang="zh-CN" dirty="0"/>
          </a:p>
          <a:p>
            <a:r>
              <a:rPr lang="zh-CN" altLang="en-US" dirty="0"/>
              <a:t>比强化学习和深度学习各自都更加难以驯化</a:t>
            </a:r>
            <a:endParaRPr lang="en-US" altLang="zh-CN" dirty="0"/>
          </a:p>
          <a:p>
            <a:r>
              <a:rPr lang="zh-CN" altLang="en-US" dirty="0"/>
              <a:t>基于价值函数的深度强化学习</a:t>
            </a:r>
            <a:endParaRPr lang="en-US" altLang="zh-CN" dirty="0"/>
          </a:p>
          <a:p>
            <a:pPr lvl="1"/>
            <a:r>
              <a:rPr lang="en-US" altLang="zh-CN" dirty="0"/>
              <a:t>DQN</a:t>
            </a:r>
            <a:r>
              <a:rPr lang="zh-CN" altLang="en-US" dirty="0"/>
              <a:t>：一次输入多个行动</a:t>
            </a:r>
            <a:r>
              <a:rPr lang="en-US" altLang="zh-CN" dirty="0"/>
              <a:t>Q</a:t>
            </a:r>
            <a:r>
              <a:rPr lang="zh-CN" altLang="en-US" dirty="0"/>
              <a:t>值输出、目标网络、随机采样经验</a:t>
            </a:r>
            <a:endParaRPr lang="en-US" altLang="zh-CN" dirty="0"/>
          </a:p>
          <a:p>
            <a:pPr lvl="1"/>
            <a:r>
              <a:rPr lang="en-US" altLang="zh-CN" dirty="0"/>
              <a:t>Double DQN</a:t>
            </a:r>
            <a:r>
              <a:rPr lang="zh-CN" altLang="en-US" dirty="0"/>
              <a:t>：解耦合行动选择和价值估计、解决</a:t>
            </a:r>
            <a:r>
              <a:rPr lang="en-US" altLang="zh-CN" dirty="0"/>
              <a:t>DQN</a:t>
            </a:r>
            <a:r>
              <a:rPr lang="zh-CN" altLang="en-US" dirty="0"/>
              <a:t>过高估计问题</a:t>
            </a:r>
            <a:endParaRPr lang="en-US" altLang="zh-CN" dirty="0"/>
          </a:p>
          <a:p>
            <a:pPr lvl="1"/>
            <a:r>
              <a:rPr lang="en-US" altLang="zh-CN" dirty="0"/>
              <a:t>Dueling DQN</a:t>
            </a:r>
            <a:r>
              <a:rPr lang="zh-CN" altLang="en-US" dirty="0"/>
              <a:t>：精细捕捉价值和行动的细微关联、多种</a:t>
            </a:r>
            <a:r>
              <a:rPr lang="en-US" altLang="zh-CN" dirty="0"/>
              <a:t>advantage</a:t>
            </a:r>
            <a:r>
              <a:rPr lang="zh-CN" altLang="en-US" dirty="0"/>
              <a:t>函数建模</a:t>
            </a:r>
          </a:p>
        </p:txBody>
      </p:sp>
      <p:pic>
        <p:nvPicPr>
          <p:cNvPr id="15" name="内容占位符 3">
            <a:extLst>
              <a:ext uri="{FF2B5EF4-FFF2-40B4-BE49-F238E27FC236}">
                <a16:creationId xmlns:a16="http://schemas.microsoft.com/office/drawing/2014/main" id="{6CAEAC95-F6C0-4401-979C-7E22678289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382"/>
          <a:stretch/>
        </p:blipFill>
        <p:spPr>
          <a:xfrm>
            <a:off x="1984808" y="1095375"/>
            <a:ext cx="6834852" cy="2342356"/>
          </a:xfrm>
          <a:prstGeom prst="rect">
            <a:avLst/>
          </a:prstGeom>
        </p:spPr>
      </p:pic>
      <p:sp>
        <p:nvSpPr>
          <p:cNvPr id="16" name="TextBox 7">
            <a:extLst>
              <a:ext uri="{FF2B5EF4-FFF2-40B4-BE49-F238E27FC236}">
                <a16:creationId xmlns:a16="http://schemas.microsoft.com/office/drawing/2014/main" id="{81132A43-89CD-4EFB-B54E-BE26CFBD1CBF}"/>
              </a:ext>
            </a:extLst>
          </p:cNvPr>
          <p:cNvSpPr txBox="1"/>
          <p:nvPr/>
        </p:nvSpPr>
        <p:spPr>
          <a:xfrm>
            <a:off x="466448" y="1512288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标准（传统）</a:t>
            </a:r>
            <a:endParaRPr lang="en-US" altLang="zh-CN" dirty="0"/>
          </a:p>
          <a:p>
            <a:pPr algn="ctr"/>
            <a:r>
              <a:rPr lang="zh-CN" altLang="en-US" dirty="0"/>
              <a:t>强化学习</a:t>
            </a: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25AFC122-16E9-4618-AA49-69D1F46F0005}"/>
              </a:ext>
            </a:extLst>
          </p:cNvPr>
          <p:cNvSpPr txBox="1"/>
          <p:nvPr/>
        </p:nvSpPr>
        <p:spPr>
          <a:xfrm>
            <a:off x="404638" y="2714127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深度强化学习</a:t>
            </a:r>
          </a:p>
        </p:txBody>
      </p:sp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梯度的缺点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5" y="1374739"/>
            <a:ext cx="929192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步长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步长难以确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采集到的数据的分布会随策略的更新而变化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较差的步长产生的影响大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61C67EE-86FC-4120-959A-B34F10445522}"/>
              </a:ext>
            </a:extLst>
          </p:cNvPr>
          <p:cNvSpPr/>
          <p:nvPr/>
        </p:nvSpPr>
        <p:spPr>
          <a:xfrm>
            <a:off x="2520562" y="3359289"/>
            <a:ext cx="877455" cy="6996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步长太大</a:t>
            </a:r>
            <a:endParaRPr lang="en-US" sz="160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3F01C3A-46F6-4500-A60A-7D0585D39232}"/>
              </a:ext>
            </a:extLst>
          </p:cNvPr>
          <p:cNvSpPr/>
          <p:nvPr/>
        </p:nvSpPr>
        <p:spPr>
          <a:xfrm>
            <a:off x="5051096" y="3295153"/>
            <a:ext cx="1145906" cy="82792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更新的策略变差</a:t>
            </a:r>
            <a:endParaRPr lang="en-US" sz="16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D391206-2091-45DF-8332-2AE87E6D8F45}"/>
              </a:ext>
            </a:extLst>
          </p:cNvPr>
          <p:cNvSpPr/>
          <p:nvPr/>
        </p:nvSpPr>
        <p:spPr>
          <a:xfrm>
            <a:off x="3642665" y="4887272"/>
            <a:ext cx="1163782" cy="96223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新采集的数据变坏</a:t>
            </a:r>
            <a:endParaRPr lang="en-US" sz="160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5612046A-A144-4376-92DD-6DA12E41679A}"/>
              </a:ext>
            </a:extLst>
          </p:cNvPr>
          <p:cNvSpPr/>
          <p:nvPr/>
        </p:nvSpPr>
        <p:spPr>
          <a:xfrm>
            <a:off x="3591383" y="3573124"/>
            <a:ext cx="1266347" cy="2719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10D272EF-83B9-4214-9FBB-94273A921A29}"/>
              </a:ext>
            </a:extLst>
          </p:cNvPr>
          <p:cNvSpPr/>
          <p:nvPr/>
        </p:nvSpPr>
        <p:spPr>
          <a:xfrm rot="7509612">
            <a:off x="4639689" y="4453816"/>
            <a:ext cx="822813" cy="26957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D3FD150-D0AB-497B-9384-DACBD3193713}"/>
              </a:ext>
            </a:extLst>
          </p:cNvPr>
          <p:cNvSpPr/>
          <p:nvPr/>
        </p:nvSpPr>
        <p:spPr>
          <a:xfrm rot="13708117">
            <a:off x="3068427" y="4396171"/>
            <a:ext cx="822813" cy="26957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页脚占位符 2">
            <a:extLst>
              <a:ext uri="{FF2B5EF4-FFF2-40B4-BE49-F238E27FC236}">
                <a16:creationId xmlns:a16="http://schemas.microsoft.com/office/drawing/2014/main" id="{FECE1D79-36C1-9613-420F-651C9059F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71825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RPO</a:t>
            </a:r>
            <a:endParaRPr kumimoji="1" lang="zh-CN" altLang="en-US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3585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梯度的优化目标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42" y="3796748"/>
            <a:ext cx="4383743" cy="435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6B079222-2365-4D1C-8C02-EBB7D7105B4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72506"/>
                <a:ext cx="9325049" cy="288265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目标的两种形式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第一种：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  <m:r>
                      <m:rPr>
                        <m:aln/>
                      </m:rP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𝜏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𝜏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d>
                      <m:dPr>
                        <m:begChr m:val="["/>
                        <m:endChr m:val="]"/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  <m:sup/>
                          <m:e>
                            <m:sSup>
                              <m:sSup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𝛾</m:t>
                                </m:r>
                              </m:e>
                              <m:sup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p>
                            </m:s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</m:e>
                    </m:d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为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d>
                      <m:dPr>
                        <m:begChr m:val="["/>
                        <m:endChr m:val="]"/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p>
                            <m:sSub>
                              <m:sSubPr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</m:sup>
                        </m:sSup>
                        <m:d>
                          <m:d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d>
                      <m:dPr>
                        <m:begChr m:val="["/>
                        <m:endChr m:val="]"/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𝔼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𝜏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∼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𝜏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[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=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=</m:t>
                            </m:r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sub>
                          <m:sup/>
                          <m:e>
                            <m:nary>
                              <m:naryPr>
                                <m:chr m:val="∑"/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=</m:t>
                                </m:r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𝑘</m:t>
                                </m:r>
                              </m:sub>
                              <m:sup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∞</m:t>
                                </m:r>
                              </m:sup>
                              <m:e>
                                <m:sSup>
                                  <m:sSupPr>
                                    <m:ctrlP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𝛾</m:t>
                                    </m:r>
                                  </m:e>
                                  <m:sup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−</m:t>
                                    </m:r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𝑘</m:t>
                                    </m:r>
                                  </m:sup>
                                </m:sSup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𝑟</m:t>
                                </m:r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sz="16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)</m:t>
                                </m:r>
                              </m:e>
                            </m:nary>
                          </m:e>
                        </m:nary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]</m:t>
                        </m:r>
                      </m:e>
                    </m:d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所以优化目标的第二种形式是：</a:t>
                </a:r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  <m:r>
                      <m:rPr>
                        <m:aln/>
                      </m:rP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[</m:t>
                    </m:r>
                    <m:sSup>
                      <m:sSup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]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6B079222-2365-4D1C-8C02-EBB7D7105B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72506"/>
                <a:ext cx="9325049" cy="2882654"/>
              </a:xfrm>
              <a:prstGeom prst="rect">
                <a:avLst/>
              </a:prstGeom>
              <a:blipFill>
                <a:blip r:embed="rId4"/>
                <a:stretch>
                  <a:fillRect l="-261" t="-10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864ED39-4973-4817-82E8-325BC89A12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3684401"/>
                <a:ext cx="8019259" cy="288265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𝜏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轨迹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初始状态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zh-CN" altLang="en-US" sz="180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时刻的状态，动作和奖励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使用的策略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表示策略所使用的参数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p>
                        <m:sSub>
                          <m:sSubPr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8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和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800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80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sSub>
                          <m:sSubPr>
                            <m:ctrlPr>
                              <a:rPr lang="en-US" altLang="zh-CN" sz="1800" i="1" dirty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80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策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8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下的 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值与状态值函数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864ED39-4973-4817-82E8-325BC89A12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3684401"/>
                <a:ext cx="8019259" cy="2882654"/>
              </a:xfrm>
              <a:prstGeom prst="rect">
                <a:avLst/>
              </a:prstGeom>
              <a:blipFill>
                <a:blip r:embed="rId5"/>
                <a:stretch>
                  <a:fillRect l="-304" t="-10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5ACC83B0-F43C-4478-901A-9D93363F8425}"/>
              </a:ext>
            </a:extLst>
          </p:cNvPr>
          <p:cNvSpPr txBox="1">
            <a:spLocks/>
          </p:cNvSpPr>
          <p:nvPr/>
        </p:nvSpPr>
        <p:spPr>
          <a:xfrm>
            <a:off x="502442" y="3099808"/>
            <a:ext cx="138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相关定义</a:t>
            </a:r>
          </a:p>
        </p:txBody>
      </p:sp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F96E0CA6-17DB-8D3F-0888-9C830761E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118015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优化目标的优化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426239" y="2263508"/>
            <a:ext cx="4383743" cy="435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04611A04-B48B-5E41-9042-070CFE5ECF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111869" y="1349346"/>
                <a:ext cx="10807739" cy="37305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r>
                        <a:rPr lang="en-US" altLang="zh-CN" sz="180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sSup>
                        <m:sSup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altLang="zh-CN" sz="180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V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80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V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V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nary>
                        <m:naryPr>
                          <m:chr m:val="∑"/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0</m:t>
                          </m:r>
                        </m:sub>
                        <m:sup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∞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b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</a:b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04611A04-B48B-5E41-9042-070CFE5ECF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111869" y="1349346"/>
                <a:ext cx="10807739" cy="3730530"/>
              </a:xfrm>
              <a:prstGeom prst="rect">
                <a:avLst/>
              </a:prstGeom>
              <a:blipFill>
                <a:blip r:embed="rId5"/>
                <a:stretch>
                  <a:fillRect b="-187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ACD969C-508D-42DA-B185-75405D980375}"/>
              </a:ext>
            </a:extLst>
          </p:cNvPr>
          <p:cNvCxnSpPr>
            <a:cxnSpLocks/>
          </p:cNvCxnSpPr>
          <p:nvPr/>
        </p:nvCxnSpPr>
        <p:spPr>
          <a:xfrm flipH="1" flipV="1">
            <a:off x="4329542" y="5671127"/>
            <a:ext cx="378691" cy="3926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66BD2F7-BF15-45D7-8D34-418CA5E53ADC}"/>
              </a:ext>
            </a:extLst>
          </p:cNvPr>
          <p:cNvSpPr txBox="1"/>
          <p:nvPr/>
        </p:nvSpPr>
        <p:spPr>
          <a:xfrm>
            <a:off x="4708233" y="5900776"/>
            <a:ext cx="1764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方便采样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416BEDF-1630-4517-8F0F-333EB6331104}"/>
              </a:ext>
            </a:extLst>
          </p:cNvPr>
          <p:cNvCxnSpPr/>
          <p:nvPr/>
        </p:nvCxnSpPr>
        <p:spPr>
          <a:xfrm flipV="1">
            <a:off x="1475506" y="1921164"/>
            <a:ext cx="526473" cy="342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94FFFDB-FFA3-4238-9CC5-6B99689F757C}"/>
                  </a:ext>
                </a:extLst>
              </p:cNvPr>
              <p:cNvSpPr txBox="1"/>
              <p:nvPr/>
            </p:nvSpPr>
            <p:spPr>
              <a:xfrm>
                <a:off x="426239" y="2291766"/>
                <a:ext cx="163483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状态的分布与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zh-CN" altLang="en-US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无关</m:t>
                    </m:r>
                  </m:oMath>
                </a14:m>
                <a:endParaRPr 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94FFFDB-FFA3-4238-9CC5-6B99689F75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6239" y="2291766"/>
                <a:ext cx="1634836" cy="584775"/>
              </a:xfrm>
              <a:prstGeom prst="rect">
                <a:avLst/>
              </a:prstGeom>
              <a:blipFill>
                <a:blip r:embed="rId6"/>
                <a:stretch>
                  <a:fillRect l="-2239" t="-3125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274052-CC8C-4D1F-BDA8-70D12B108209}"/>
              </a:ext>
            </a:extLst>
          </p:cNvPr>
          <p:cNvCxnSpPr/>
          <p:nvPr/>
        </p:nvCxnSpPr>
        <p:spPr>
          <a:xfrm flipV="1">
            <a:off x="1416410" y="3872908"/>
            <a:ext cx="526473" cy="342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05775CD-CD48-43CB-B5E9-110FDBE2BB91}"/>
                  </a:ext>
                </a:extLst>
              </p:cNvPr>
              <p:cNvSpPr txBox="1"/>
              <p:nvPr/>
            </p:nvSpPr>
            <p:spPr>
              <a:xfrm>
                <a:off x="658088" y="4252356"/>
                <a:ext cx="163483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定义</a:t>
                </a:r>
                <a:endParaRPr 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05775CD-CD48-43CB-B5E9-110FDBE2BB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088" y="4252356"/>
                <a:ext cx="1634836" cy="338554"/>
              </a:xfrm>
              <a:prstGeom prst="rect">
                <a:avLst/>
              </a:prstGeom>
              <a:blipFill>
                <a:blip r:embed="rId7"/>
                <a:stretch>
                  <a:fillRect t="-5455" b="-236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4C93FE1-3997-4825-97B4-AB388826C7B4}"/>
              </a:ext>
            </a:extLst>
          </p:cNvPr>
          <p:cNvCxnSpPr/>
          <p:nvPr/>
        </p:nvCxnSpPr>
        <p:spPr>
          <a:xfrm flipH="1" flipV="1">
            <a:off x="5243942" y="4839855"/>
            <a:ext cx="332510" cy="387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DFE8E83-0BF9-4F2F-BA57-7C11D83420F7}"/>
                  </a:ext>
                </a:extLst>
              </p:cNvPr>
              <p:cNvSpPr txBox="1"/>
              <p:nvPr/>
            </p:nvSpPr>
            <p:spPr>
              <a:xfrm>
                <a:off x="5123248" y="5176934"/>
                <a:ext cx="1764145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DFE8E83-0BF9-4F2F-BA57-7C11D83420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23248" y="5176934"/>
                <a:ext cx="1764145" cy="379656"/>
              </a:xfrm>
              <a:prstGeom prst="rect">
                <a:avLst/>
              </a:prstGeom>
              <a:blipFill>
                <a:blip r:embed="rId8"/>
                <a:stretch>
                  <a:fillRect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AD7D7A9-BF23-406E-9355-F79DDBC99D31}"/>
              </a:ext>
            </a:extLst>
          </p:cNvPr>
          <p:cNvCxnSpPr>
            <a:cxnSpLocks/>
          </p:cNvCxnSpPr>
          <p:nvPr/>
        </p:nvCxnSpPr>
        <p:spPr>
          <a:xfrm flipV="1">
            <a:off x="1192709" y="5462933"/>
            <a:ext cx="750174" cy="2730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B52B704-3F34-4D7E-8FB1-1BA70D58CDC2}"/>
                  </a:ext>
                </a:extLst>
              </p:cNvPr>
              <p:cNvSpPr txBox="1"/>
              <p:nvPr/>
            </p:nvSpPr>
            <p:spPr>
              <a:xfrm>
                <a:off x="426239" y="5685172"/>
                <a:ext cx="1764145" cy="639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  <m:sup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V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B52B704-3F34-4D7E-8FB1-1BA70D58CD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6239" y="5685172"/>
                <a:ext cx="1764145" cy="639983"/>
              </a:xfrm>
              <a:prstGeom prst="rect">
                <a:avLst/>
              </a:prstGeom>
              <a:blipFill>
                <a:blip r:embed="rId9"/>
                <a:stretch>
                  <a:fillRect r="-35640" b="-5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6F802DE-0057-42D3-97C1-A738A44A89B9}"/>
                  </a:ext>
                </a:extLst>
              </p:cNvPr>
              <p:cNvSpPr txBox="1"/>
              <p:nvPr/>
            </p:nvSpPr>
            <p:spPr>
              <a:xfrm>
                <a:off x="5576452" y="259877"/>
                <a:ext cx="3191478" cy="70641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  <m:r>
                      <m:rPr>
                        <m:aln/>
                      </m:rPr>
                      <a:rPr lang="en-US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𝜏</m:t>
                        </m:r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𝜏</m:t>
                        </m:r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d>
                      <m:dPr>
                        <m:begChr m:val="["/>
                        <m:endChr m:val="]"/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  <m:sup/>
                          <m:e>
                            <m:sSup>
                              <m:sSupPr>
                                <m:ctrlPr>
                                  <a:rPr lang="en-US" altLang="zh-CN" sz="18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8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𝛾</m:t>
                                </m:r>
                              </m:e>
                              <m:sup>
                                <m:r>
                                  <a:rPr lang="en-US" altLang="zh-CN" sz="18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p>
                            </m:sSup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altLang="zh-CN" sz="18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sz="18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sz="18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</m:e>
                    </m:d>
                  </m:oMath>
                </a14:m>
                <a:r>
                  <a:rPr lang="zh-CN" altLang="en-US" dirty="0"/>
                  <a:t> </a:t>
                </a:r>
                <a:endParaRPr lang="en-US" altLang="zh-CN" dirty="0"/>
              </a:p>
              <a:p>
                <a14:m>
                  <m:oMath xmlns:m="http://schemas.openxmlformats.org/officeDocument/2006/math"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  <m:r>
                      <m:rPr>
                        <m:aln/>
                      </m:rPr>
                      <a:rPr lang="en-US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b>
                    </m:sSub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[</m:t>
                    </m:r>
                    <m:sSup>
                      <m:sSup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sSub>
                          <m:sSubPr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</m:e>
                    </m:d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]</m:t>
                    </m:r>
                  </m:oMath>
                </a14:m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6F802DE-0057-42D3-97C1-A738A44A89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6452" y="259877"/>
                <a:ext cx="3191478" cy="706412"/>
              </a:xfrm>
              <a:prstGeom prst="rect">
                <a:avLst/>
              </a:prstGeom>
              <a:blipFill>
                <a:blip r:embed="rId13"/>
                <a:stretch>
                  <a:fillRect l="-382" t="-62069" b="-5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页脚占位符 2">
            <a:extLst>
              <a:ext uri="{FF2B5EF4-FFF2-40B4-BE49-F238E27FC236}">
                <a16:creationId xmlns:a16="http://schemas.microsoft.com/office/drawing/2014/main" id="{3EE1B862-A7B6-D1F9-5695-3E24F01CB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49276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F18916DE-4A93-4921-BB0A-E7DC84F68B4A}"/>
              </a:ext>
            </a:extLst>
          </p:cNvPr>
          <p:cNvSpPr/>
          <p:nvPr/>
        </p:nvSpPr>
        <p:spPr>
          <a:xfrm>
            <a:off x="6210666" y="1700106"/>
            <a:ext cx="2588674" cy="819573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使用重要性采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42" y="2263508"/>
            <a:ext cx="4383743" cy="435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58085"/>
                <a:ext cx="9325049" cy="332917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重要性采样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mportance Samplin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𝜏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𝜏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e>
                      </m:d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]]</m:t>
                          </m:r>
                        </m:e>
                      </m:nary>
                    </m:oMath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]]</m:t>
                          </m:r>
                        </m:e>
                      </m:nary>
                    </m:oMath>
                  </m:oMathPara>
                </a14:m>
                <a:b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</a:b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58085"/>
                <a:ext cx="9325049" cy="3329172"/>
              </a:xfrm>
              <a:prstGeom prst="rect">
                <a:avLst/>
              </a:prstGeom>
              <a:blipFill>
                <a:blip r:embed="rId4"/>
                <a:stretch>
                  <a:fillRect l="-392" t="-9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9BF88DF-8B1B-497F-B546-6491D89777D4}"/>
                  </a:ext>
                </a:extLst>
              </p:cNvPr>
              <p:cNvSpPr txBox="1"/>
              <p:nvPr/>
            </p:nvSpPr>
            <p:spPr>
              <a:xfrm>
                <a:off x="2475270" y="4746808"/>
                <a:ext cx="1727349" cy="6496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仍然是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sSup>
                          <m:sSup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近似操作）</a:t>
                </a:r>
                <a:endPara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9BF88DF-8B1B-497F-B546-6491D8977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5270" y="4746808"/>
                <a:ext cx="1727349" cy="649601"/>
              </a:xfrm>
              <a:prstGeom prst="rect">
                <a:avLst/>
              </a:prstGeom>
              <a:blipFill>
                <a:blip r:embed="rId5"/>
                <a:stretch>
                  <a:fillRect t="-5660" b="-1509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B1D20C-AAA4-48B2-94C4-CFB33800B783}"/>
              </a:ext>
            </a:extLst>
          </p:cNvPr>
          <p:cNvCxnSpPr/>
          <p:nvPr/>
        </p:nvCxnSpPr>
        <p:spPr>
          <a:xfrm flipV="1">
            <a:off x="3288145" y="4295874"/>
            <a:ext cx="101600" cy="4509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">
            <a:extLst>
              <a:ext uri="{FF2B5EF4-FFF2-40B4-BE49-F238E27FC236}">
                <a16:creationId xmlns:a16="http://schemas.microsoft.com/office/drawing/2014/main" id="{4B0A91FE-9186-4CFE-BBFB-0EECFF22EC79}"/>
              </a:ext>
            </a:extLst>
          </p:cNvPr>
          <p:cNvSpPr txBox="1"/>
          <p:nvPr/>
        </p:nvSpPr>
        <p:spPr>
          <a:xfrm>
            <a:off x="5230354" y="4746808"/>
            <a:ext cx="1727349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重要性采样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2" name="Straight Arrow Connector 5">
            <a:extLst>
              <a:ext uri="{FF2B5EF4-FFF2-40B4-BE49-F238E27FC236}">
                <a16:creationId xmlns:a16="http://schemas.microsoft.com/office/drawing/2014/main" id="{63CE46CB-1BF9-4B34-820A-625397772A97}"/>
              </a:ext>
            </a:extLst>
          </p:cNvPr>
          <p:cNvCxnSpPr>
            <a:cxnSpLocks/>
          </p:cNvCxnSpPr>
          <p:nvPr/>
        </p:nvCxnSpPr>
        <p:spPr>
          <a:xfrm flipH="1" flipV="1">
            <a:off x="5744943" y="4295875"/>
            <a:ext cx="224057" cy="450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0">
                <a:extLst>
                  <a:ext uri="{FF2B5EF4-FFF2-40B4-BE49-F238E27FC236}">
                    <a16:creationId xmlns:a16="http://schemas.microsoft.com/office/drawing/2014/main" id="{D525E5CC-F401-4EDD-8F4B-902AB7FF571A}"/>
                  </a:ext>
                </a:extLst>
              </p:cNvPr>
              <p:cNvSpPr txBox="1"/>
              <p:nvPr/>
            </p:nvSpPr>
            <p:spPr>
              <a:xfrm>
                <a:off x="6230986" y="1796945"/>
                <a:ext cx="1764145" cy="639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  <m:sup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V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TextBox 20">
                <a:extLst>
                  <a:ext uri="{FF2B5EF4-FFF2-40B4-BE49-F238E27FC236}">
                    <a16:creationId xmlns:a16="http://schemas.microsoft.com/office/drawing/2014/main" id="{D525E5CC-F401-4EDD-8F4B-902AB7FF57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0986" y="1796945"/>
                <a:ext cx="1764145" cy="639983"/>
              </a:xfrm>
              <a:prstGeom prst="rect">
                <a:avLst/>
              </a:prstGeom>
              <a:blipFill>
                <a:blip r:embed="rId9"/>
                <a:stretch>
                  <a:fillRect r="-35172" b="-57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页脚占位符 2">
            <a:extLst>
              <a:ext uri="{FF2B5EF4-FFF2-40B4-BE49-F238E27FC236}">
                <a16:creationId xmlns:a16="http://schemas.microsoft.com/office/drawing/2014/main" id="{9C160A0B-C9CD-19AA-E3C8-F59497381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29873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A29C62EF-AD19-4D7A-8086-D8D1B25BB1DA}"/>
              </a:ext>
            </a:extLst>
          </p:cNvPr>
          <p:cNvSpPr/>
          <p:nvPr/>
        </p:nvSpPr>
        <p:spPr>
          <a:xfrm>
            <a:off x="1083733" y="4758267"/>
            <a:ext cx="7010401" cy="838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忽略状态分布的差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42" y="2263508"/>
            <a:ext cx="4383743" cy="435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72506"/>
                <a:ext cx="9325049" cy="288265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策略更新前后的变化较小时，可以令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≈</m:t>
                    </m:r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sSup>
                          <m:sSup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使用确定性策略，当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≠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lang="en-US" altLang="zh-CN" sz="1600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m:rPr>
                        <m:nor/>
                      </m:rPr>
                      <a:rPr lang="zh-CN" altLang="en-US" sz="1600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概率小于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zh-CN" altLang="en-US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时</m:t>
                    </m:r>
                  </m:oMath>
                </a14:m>
                <a:endParaRPr lang="en-US" altLang="zh-CN" sz="160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:r>
                  <a:rPr lang="zh-CN" altLang="en-US" sz="1600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者假设使用随机策略，当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p>
                        <m:r>
                          <a:rPr lang="en-US" altLang="zh-CN" sz="1600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sz="1600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⋅</m:t>
                        </m:r>
                      </m:e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≠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⋅|</m:t>
                        </m:r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sz="1600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概率小于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zh-CN" altLang="en-US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时</m:t>
                    </m:r>
                  </m:oMath>
                </a14:m>
                <a:endParaRPr lang="en-US" altLang="zh-CN" sz="1600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−</m:t>
                            </m:r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𝜖</m:t>
                            </m:r>
                          </m:e>
                        </m:d>
                      </m:e>
                      <m:sup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p>
                    </m:sSup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−</m:t>
                        </m:r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−</m:t>
                                </m:r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𝜖</m:t>
                                </m:r>
                              </m:e>
                            </m:d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p>
                        </m:sSup>
                      </m:e>
                    </m:d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𝑖𝑠𝑡𝑎𝑘𝑒</m:t>
                        </m:r>
                      </m:sub>
                    </m:sSub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endParaRPr lang="en-US" altLang="zh-CN" sz="16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Bef>
                    <a:spcPts val="1200"/>
                  </a:spcBef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sSup>
                              <m:sSup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e>
                              <m:sup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sub>
                        </m:sSub>
                        <m:d>
                          <m:d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−</m:t>
                        </m:r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−</m:t>
                                </m:r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𝜖</m:t>
                                </m:r>
                              </m:e>
                            </m:d>
                          </m:e>
                          <m: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p>
                        </m:sSup>
                      </m:e>
                    </m:d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|</m:t>
                        </m:r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𝑖𝑠𝑡𝑎𝑘𝑒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≤2</m:t>
                    </m:r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−</m:t>
                        </m:r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−</m:t>
                                </m:r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𝜖</m:t>
                                </m:r>
                              </m:e>
                            </m:d>
                          </m:e>
                          <m: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p>
                        </m:sSup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≤2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b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</a:b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72506"/>
                <a:ext cx="9325049" cy="2882654"/>
              </a:xfrm>
              <a:prstGeom prst="rect">
                <a:avLst/>
              </a:prstGeom>
              <a:blipFill>
                <a:blip r:embed="rId5"/>
                <a:stretch>
                  <a:fillRect l="-261" t="-10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4483BF14-B6FC-4269-9489-D8774F88978B}"/>
                  </a:ext>
                </a:extLst>
              </p:cNvPr>
              <p:cNvSpPr/>
              <p:nvPr/>
            </p:nvSpPr>
            <p:spPr>
              <a:xfrm>
                <a:off x="1245498" y="4840821"/>
                <a:ext cx="7010401" cy="6076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≈</m:t>
                    </m:r>
                    <m:nary>
                      <m:naryPr>
                        <m:chr m:val="∑"/>
                        <m:supHide m:val="on"/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∼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[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∼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[</m:t>
                        </m:r>
                        <m:f>
                          <m:f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′</m:t>
                                    </m:r>
                                  </m:sup>
                                </m:sSup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den>
                        </m:f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𝛾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p>
                        </m:sSup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  <m:sup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</m:sup>
                        </m:s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]]</m:t>
                        </m:r>
                      </m:e>
                    </m:nary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4483BF14-B6FC-4269-9489-D8774F88978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5498" y="4840821"/>
                <a:ext cx="7010401" cy="60760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6244AB6-0A77-4985-B532-0A2B45F1813B}"/>
              </a:ext>
            </a:extLst>
          </p:cNvPr>
          <p:cNvCxnSpPr/>
          <p:nvPr/>
        </p:nvCxnSpPr>
        <p:spPr>
          <a:xfrm flipV="1">
            <a:off x="7324437" y="3395041"/>
            <a:ext cx="0" cy="4248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7CFE609-9EDF-4232-8AE7-27574DDD701B}"/>
                  </a:ext>
                </a:extLst>
              </p:cNvPr>
              <p:cNvSpPr txBox="1"/>
              <p:nvPr/>
            </p:nvSpPr>
            <p:spPr>
              <a:xfrm>
                <a:off x="5643418" y="3821599"/>
                <a:ext cx="35005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1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𝜖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𝑜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𝜖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∈[0,1]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7CFE609-9EDF-4232-8AE7-27574DDD70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43418" y="3821599"/>
                <a:ext cx="3500582" cy="369332"/>
              </a:xfrm>
              <a:prstGeom prst="rect">
                <a:avLst/>
              </a:prstGeom>
              <a:blipFill>
                <a:blip r:embed="rId7"/>
                <a:stretch>
                  <a:fillRect b="-1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8E1785E2-6768-6F3B-A775-D0923134E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417156"/>
            <a:ext cx="8512248" cy="179588"/>
          </a:xfrm>
        </p:spPr>
        <p:txBody>
          <a:bodyPr/>
          <a:lstStyle/>
          <a:p>
            <a:r>
              <a:rPr lang="en-US" altLang="zh-CN" dirty="0"/>
              <a:t>John Schulman. Optimizing expectations: From deep reinforcement learning to stochastic computation graphs. 2016.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23038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约束策略的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1413347"/>
                <a:ext cx="9325049" cy="152510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L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散度约束策略更新的幅度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func>
                        <m:func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1800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800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𝔼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∼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𝑝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[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𝔼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sz="180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∼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[</m:t>
                                  </m:r>
                                  <m:f>
                                    <m:f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p>
                                  </m:sSup>
                                  <m:sSup>
                                    <m:sSup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𝐴</m:t>
                                      </m:r>
                                    </m:e>
                                    <m:sup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</m:sup>
                                  </m:s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]]</m:t>
                                  </m:r>
                                </m:e>
                              </m:nary>
                            </m:e>
                          </m:func>
                        </m:e>
                      </m:func>
                    </m:oMath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800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such</m:t>
                      </m:r>
                      <m:r>
                        <a:rPr lang="en-US" altLang="zh-CN" sz="1800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1800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that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sub>
                      </m:sSub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𝐷</m:t>
                          </m:r>
                        </m:e>
                        <m: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𝐾𝐿</m:t>
                          </m:r>
                        </m:sub>
                      </m:sSub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∥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≤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</m:oMath>
                  </m:oMathPara>
                </a14:m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25C21D8-89C0-4800-A3D4-5DF1F419D4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1413347"/>
                <a:ext cx="9325049" cy="1525102"/>
              </a:xfrm>
              <a:prstGeom prst="rect">
                <a:avLst/>
              </a:prstGeom>
              <a:blipFill>
                <a:blip r:embed="rId3"/>
                <a:stretch>
                  <a:fillRect l="-261" t="-24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4C82D7BC-6F66-4096-AAFF-F4D61C9C1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4" y="6360673"/>
            <a:ext cx="8512248" cy="206381"/>
          </a:xfrm>
        </p:spPr>
        <p:txBody>
          <a:bodyPr/>
          <a:lstStyle/>
          <a:p>
            <a:r>
              <a:rPr lang="en-US" altLang="zh-CN" dirty="0"/>
              <a:t>http://rail.eecs.berkeley.edu/deeprlcourse/static/slides/lec-9.pdf</a:t>
            </a:r>
            <a:endParaRPr lang="zh-CN" altLang="en-US" dirty="0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D2C6152D-394C-4EDF-9961-1EAAF7AC77A5}"/>
              </a:ext>
            </a:extLst>
          </p:cNvPr>
          <p:cNvGrpSpPr/>
          <p:nvPr/>
        </p:nvGrpSpPr>
        <p:grpSpPr>
          <a:xfrm>
            <a:off x="813582" y="4130222"/>
            <a:ext cx="7196385" cy="1076705"/>
            <a:chOff x="813582" y="3964029"/>
            <a:chExt cx="7196385" cy="107670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94B5B9CD-4C16-42FA-B4B3-91BE6EA651E4}"/>
                    </a:ext>
                  </a:extLst>
                </p:cNvPr>
                <p:cNvSpPr txBox="1"/>
                <p:nvPr/>
              </p:nvSpPr>
              <p:spPr>
                <a:xfrm>
                  <a:off x="813582" y="4119660"/>
                  <a:ext cx="2113863" cy="46403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←</m:t>
                        </m:r>
                        <m:func>
                          <m:func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rg</m:t>
                            </m:r>
                          </m:fName>
                          <m:e>
                            <m:func>
                              <m:func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funcPr>
                              <m:fName>
                                <m:limLow>
                                  <m:limLow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limLow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altLang="zh-CN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max</m:t>
                                    </m:r>
                                  </m:e>
                                  <m:lim>
                                    <m:sSup>
                                      <m:s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e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lim>
                                </m:limLow>
                              </m:fName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 </m:t>
                                </m:r>
                              </m:e>
                            </m:func>
                          </m:e>
                        </m:func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94B5B9CD-4C16-42FA-B4B3-91BE6EA651E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3582" y="4119660"/>
                  <a:ext cx="2113863" cy="464038"/>
                </a:xfrm>
                <a:prstGeom prst="rect">
                  <a:avLst/>
                </a:prstGeom>
                <a:blipFill>
                  <a:blip r:embed="rId7"/>
                  <a:stretch>
                    <a:fillRect b="-2632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矩形 2">
                  <a:extLst>
                    <a:ext uri="{FF2B5EF4-FFF2-40B4-BE49-F238E27FC236}">
                      <a16:creationId xmlns:a16="http://schemas.microsoft.com/office/drawing/2014/main" id="{48A4BEF0-A755-4567-ABB3-B3ABB54139E5}"/>
                    </a:ext>
                  </a:extLst>
                </p:cNvPr>
                <p:cNvSpPr/>
                <p:nvPr/>
              </p:nvSpPr>
              <p:spPr>
                <a:xfrm>
                  <a:off x="2585340" y="3964029"/>
                  <a:ext cx="5424627" cy="10767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eqArr>
                          <m:eqArr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eqArrPr>
                          <m:e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naryPr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𝔼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∼</m:t>
                                    </m:r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𝑝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[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𝔼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∼</m:t>
                                    </m:r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[</m:t>
                                </m:r>
                                <m:f>
                                  <m:f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sSup>
                                          <m:sSup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𝜃</m:t>
                                            </m:r>
                                          </m:e>
                                          <m:sup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′</m:t>
                                            </m:r>
                                          </m:sup>
                                        </m:sSup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den>
                                </m:f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𝛾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p>
                                </m:sSup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𝐴</m:t>
                                    </m:r>
                                  </m:e>
                                  <m:sup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</m:sup>
                                </m:s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)]]</m:t>
                                </m:r>
                              </m:e>
                            </m:nary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𝜆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𝐾𝐿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′</m:t>
                                    </m:r>
                                  </m:sup>
                                </m:sSup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∥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−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𝜖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e>
                        </m:eqAr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3" name="矩形 2">
                  <a:extLst>
                    <a:ext uri="{FF2B5EF4-FFF2-40B4-BE49-F238E27FC236}">
                      <a16:creationId xmlns:a16="http://schemas.microsoft.com/office/drawing/2014/main" id="{48A4BEF0-A755-4567-ABB3-B3ABB54139E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85340" y="3964029"/>
                  <a:ext cx="5424627" cy="1076705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9" name="内容占位符 2">
            <a:extLst>
              <a:ext uri="{FF2B5EF4-FFF2-40B4-BE49-F238E27FC236}">
                <a16:creationId xmlns:a16="http://schemas.microsoft.com/office/drawing/2014/main" id="{8E4A3564-18DE-40B4-B28E-C7EA90A26EAF}"/>
              </a:ext>
            </a:extLst>
          </p:cNvPr>
          <p:cNvSpPr txBox="1">
            <a:spLocks/>
          </p:cNvSpPr>
          <p:nvPr/>
        </p:nvSpPr>
        <p:spPr>
          <a:xfrm>
            <a:off x="502444" y="3601866"/>
            <a:ext cx="9325049" cy="567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实际多使用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onstraint violate as penalt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93C3A1CC-60D5-455F-8BB7-21EB90F1F0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5413308"/>
                <a:ext cx="9325049" cy="69549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800100" lvl="1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上式，更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p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buFont typeface="+mj-lt"/>
                  <a:buAutoNum type="arabicPeriod"/>
                </a:pPr>
                <a14:m>
                  <m:oMath xmlns:m="http://schemas.openxmlformats.org/officeDocument/2006/math">
                    <m:r>
                      <a:rPr lang="zh-CN" altLang="en-US" sz="160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更新</m:t>
                    </m:r>
                    <m:r>
                      <a:rPr lang="en-US" altLang="zh-CN" sz="1600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𝜆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𝜆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α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𝐷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𝐾𝐿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∥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−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93C3A1CC-60D5-455F-8BB7-21EB90F1F0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5413308"/>
                <a:ext cx="9325049" cy="695492"/>
              </a:xfrm>
              <a:prstGeom prst="rect">
                <a:avLst/>
              </a:prstGeom>
              <a:blipFill>
                <a:blip r:embed="rId9"/>
                <a:stretch>
                  <a:fillRect t="-6140" b="-1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FA9B13B7-6097-12F8-9A91-358CEEC8CCD9}"/>
              </a:ext>
            </a:extLst>
          </p:cNvPr>
          <p:cNvSpPr txBox="1">
            <a:spLocks/>
          </p:cNvSpPr>
          <p:nvPr/>
        </p:nvSpPr>
        <p:spPr>
          <a:xfrm>
            <a:off x="502445" y="2940838"/>
            <a:ext cx="8421062" cy="5673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此次求解需要使用到共轭梯度法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ea typeface="阿里巴巴普惠体 R" panose="00020600040101010101" pitchFamily="18" charset="-122"/>
              </a:rPr>
              <a:t>详细推导可见</a:t>
            </a:r>
            <a:r>
              <a:rPr lang="en-US" altLang="zh-CN" sz="1600" dirty="0">
                <a:ea typeface="阿里巴巴普惠体 R" panose="00020600040101010101" pitchFamily="18" charset="-122"/>
              </a:rPr>
              <a:t>《</a:t>
            </a:r>
            <a:r>
              <a:rPr lang="zh-CN" altLang="en-US" sz="1600" dirty="0">
                <a:ea typeface="阿里巴巴普惠体 R" panose="00020600040101010101" pitchFamily="18" charset="-122"/>
              </a:rPr>
              <a:t>动手学强化学习</a:t>
            </a:r>
            <a:r>
              <a:rPr lang="en-US" altLang="zh-CN" sz="1600" dirty="0">
                <a:ea typeface="阿里巴巴普惠体 R" panose="00020600040101010101" pitchFamily="18" charset="-122"/>
              </a:rPr>
              <a:t>》</a:t>
            </a:r>
            <a:r>
              <a:rPr lang="zh-CN" altLang="en-US" sz="1600" dirty="0">
                <a:ea typeface="阿里巴巴普惠体 R" panose="00020600040101010101" pitchFamily="18" charset="-122"/>
              </a:rPr>
              <a:t>第</a:t>
            </a:r>
            <a:r>
              <a:rPr lang="en-US" altLang="zh-CN" sz="1600" dirty="0">
                <a:ea typeface="阿里巴巴普惠体 R" panose="00020600040101010101" pitchFamily="18" charset="-122"/>
              </a:rPr>
              <a:t>11.4</a:t>
            </a:r>
            <a:r>
              <a:rPr lang="zh-CN" altLang="en-US" sz="1600" dirty="0">
                <a:ea typeface="阿里巴巴普惠体 R" panose="00020600040101010101" pitchFamily="18" charset="-122"/>
              </a:rPr>
              <a:t>节</a:t>
            </a:r>
            <a:endParaRPr lang="en-US" altLang="zh-CN" sz="1600" dirty="0">
              <a:ea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76805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2A4E942D-ACCF-451C-9085-5139CADA3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57273"/>
            <a:ext cx="6913425" cy="206381"/>
          </a:xfrm>
        </p:spPr>
        <p:txBody>
          <a:bodyPr/>
          <a:lstStyle/>
          <a:p>
            <a:r>
              <a:rPr lang="en-US" altLang="zh-CN" dirty="0"/>
              <a:t>https://medium.com/@jonathan_hui/rl-trust-region-policy-optimization-trpo-explained-a6ee04eeeee9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C198D2D-6E9D-44B0-BDFA-BE492F334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1398F494-75B1-41ED-9EF8-E7CDB2EB6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452" y="2"/>
            <a:ext cx="7918913" cy="1028699"/>
          </a:xfrm>
        </p:spPr>
        <p:txBody>
          <a:bodyPr/>
          <a:lstStyle/>
          <a:p>
            <a:r>
              <a:rPr lang="en-US" altLang="zh-CN" dirty="0"/>
              <a:t>TRPO</a:t>
            </a:r>
            <a:r>
              <a:rPr lang="zh-CN" altLang="en-US" dirty="0"/>
              <a:t>的原理</a:t>
            </a:r>
          </a:p>
        </p:txBody>
      </p:sp>
      <p:pic>
        <p:nvPicPr>
          <p:cNvPr id="6" name="Picture 2" descr="https://cdn-images-1.medium.com/max/1600/1*Qng-QTAxM1SinumXuLaTsg.jpeg">
            <a:extLst>
              <a:ext uri="{FF2B5EF4-FFF2-40B4-BE49-F238E27FC236}">
                <a16:creationId xmlns:a16="http://schemas.microsoft.com/office/drawing/2014/main" id="{6D0E420F-3D54-41F7-8BC3-B64B80D42C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63"/>
          <a:stretch/>
        </p:blipFill>
        <p:spPr bwMode="auto">
          <a:xfrm>
            <a:off x="628650" y="1833469"/>
            <a:ext cx="7886700" cy="341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cdn-images-1.medium.com/max/1200/1*eQDsFaMkSXw0g6gVIErXaQ.jpeg">
            <a:extLst>
              <a:ext uri="{FF2B5EF4-FFF2-40B4-BE49-F238E27FC236}">
                <a16:creationId xmlns:a16="http://schemas.microsoft.com/office/drawing/2014/main" id="{E329FC8C-A546-449F-8B4A-AD4146D706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56" r="16308"/>
          <a:stretch/>
        </p:blipFill>
        <p:spPr bwMode="auto">
          <a:xfrm>
            <a:off x="5023961" y="1840551"/>
            <a:ext cx="3561777" cy="341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F20886B-FEC9-4F02-8302-349F303D62BA}"/>
              </a:ext>
            </a:extLst>
          </p:cNvPr>
          <p:cNvSpPr txBox="1"/>
          <p:nvPr/>
        </p:nvSpPr>
        <p:spPr>
          <a:xfrm>
            <a:off x="866353" y="1385188"/>
            <a:ext cx="32063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/>
              <a:t>Line search (like gradient ascent)</a:t>
            </a:r>
            <a:endParaRPr lang="zh-CN" altLang="en-US" sz="16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C3112D5-47B6-42B1-A57F-FB3A435C249A}"/>
              </a:ext>
            </a:extLst>
          </p:cNvPr>
          <p:cNvSpPr txBox="1"/>
          <p:nvPr/>
        </p:nvSpPr>
        <p:spPr>
          <a:xfrm>
            <a:off x="5424568" y="1385188"/>
            <a:ext cx="27605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/>
              <a:t>Optimization in Trust Region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E620BBB-EE71-A978-311A-24D693AF6785}"/>
              </a:ext>
            </a:extLst>
          </p:cNvPr>
          <p:cNvSpPr txBox="1"/>
          <p:nvPr/>
        </p:nvSpPr>
        <p:spPr>
          <a:xfrm>
            <a:off x="721453" y="5377099"/>
            <a:ext cx="3351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做限制的梯度上升法在策略优化中很可能由于‘步子太大’而越过局部最优，“一步踩空掉到山下”</a:t>
            </a:r>
            <a:endParaRPr lang="zh-CN" altLang="en-US" sz="16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CCB6057-794A-1F13-E1ED-440248A86FBC}"/>
              </a:ext>
            </a:extLst>
          </p:cNvPr>
          <p:cNvSpPr txBox="1"/>
          <p:nvPr/>
        </p:nvSpPr>
        <p:spPr>
          <a:xfrm>
            <a:off x="5129235" y="5377099"/>
            <a:ext cx="3351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信任区域限制的梯度上升法‘踩空落崖’的风险，对策略优化方法十分重要</a:t>
            </a:r>
            <a:endParaRPr lang="zh-CN" alt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242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62146" y="3125495"/>
            <a:ext cx="5975720" cy="1220215"/>
          </a:xfrm>
        </p:spPr>
        <p:txBody>
          <a:bodyPr>
            <a:noAutofit/>
          </a:bodyPr>
          <a:lstStyle/>
          <a:p>
            <a:r>
              <a:rPr kumimoji="1" lang="zh-CN" altLang="en-US" sz="4400" dirty="0"/>
              <a:t>策略改进的</a:t>
            </a:r>
            <a:br>
              <a:rPr kumimoji="1" lang="en-US" altLang="zh-CN" sz="4400" dirty="0"/>
            </a:br>
            <a:r>
              <a:rPr kumimoji="1" lang="zh-CN" altLang="en-US" sz="4400" dirty="0"/>
              <a:t>单调性保证</a:t>
            </a:r>
            <a:br>
              <a:rPr kumimoji="1" lang="zh-CN" altLang="en-US" sz="4400" dirty="0"/>
            </a:br>
            <a:endParaRPr kumimoji="1" lang="zh-CN" altLang="en-US" sz="4400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6602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策略改进的单调性保证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3635" y="6407817"/>
            <a:ext cx="6415593" cy="206381"/>
          </a:xfrm>
        </p:spPr>
        <p:txBody>
          <a:bodyPr/>
          <a:lstStyle/>
          <a:p>
            <a:r>
              <a:rPr lang="en-US" altLang="zh-CN" dirty="0"/>
              <a:t>John Schulman. </a:t>
            </a:r>
            <a:r>
              <a:rPr lang="en-US" dirty="0"/>
              <a:t>Advanced Policy Gradient Methods: Natural Gradient, TRPO, and More</a:t>
            </a:r>
            <a:r>
              <a:rPr lang="en-US" altLang="zh-CN" dirty="0"/>
              <a:t>. 2017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726F6D-0B52-442F-9ED0-FECFEA5B94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8474" y="3273066"/>
            <a:ext cx="4324350" cy="29718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45CD6F0-72C3-4130-AA7C-602356F05972}"/>
                  </a:ext>
                </a:extLst>
              </p:cNvPr>
              <p:cNvSpPr txBox="1"/>
              <p:nvPr/>
            </p:nvSpPr>
            <p:spPr>
              <a:xfrm flipH="1">
                <a:off x="1222032" y="2630985"/>
                <a:ext cx="7004334" cy="7693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𝐽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∼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]]</m:t>
                          </m:r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45CD6F0-72C3-4130-AA7C-602356F059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1222032" y="2630985"/>
                <a:ext cx="7004334" cy="76937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2AF3D1D-52E9-4720-B9B4-797F183606A4}"/>
                  </a:ext>
                </a:extLst>
              </p:cNvPr>
              <p:cNvSpPr txBox="1"/>
              <p:nvPr/>
            </p:nvSpPr>
            <p:spPr>
              <a:xfrm>
                <a:off x="998949" y="1502317"/>
                <a:ext cx="7450501" cy="6550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𝐽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𝐿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</m:sSub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𝑤h𝑒𝑟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𝜖𝛾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𝜖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|</m:t>
                          </m:r>
                        </m:e>
                      </m:func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2AF3D1D-52E9-4720-B9B4-797F183606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8949" y="1502317"/>
                <a:ext cx="7450501" cy="65505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4970F47-E825-4E3F-ACAC-88693452F487}"/>
              </a:ext>
            </a:extLst>
          </p:cNvPr>
          <p:cNvCxnSpPr/>
          <p:nvPr/>
        </p:nvCxnSpPr>
        <p:spPr>
          <a:xfrm flipH="1" flipV="1">
            <a:off x="2733964" y="2068945"/>
            <a:ext cx="628072" cy="637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BA9ED59-D135-4051-A89F-A487C8487066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2154213" y="5322835"/>
            <a:ext cx="579751" cy="353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592D011-9D27-4EC3-91F2-F1A552749CF8}"/>
                  </a:ext>
                </a:extLst>
              </p:cNvPr>
              <p:cNvSpPr txBox="1"/>
              <p:nvPr/>
            </p:nvSpPr>
            <p:spPr>
              <a:xfrm flipH="1">
                <a:off x="1720776" y="4953503"/>
                <a:ext cx="86687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592D011-9D27-4EC3-91F2-F1A552749C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1720776" y="4953503"/>
                <a:ext cx="866874" cy="369332"/>
              </a:xfrm>
              <a:prstGeom prst="rect">
                <a:avLst/>
              </a:prstGeom>
              <a:blipFill>
                <a:blip r:embed="rId7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63313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的分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137923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价值的方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及其扩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随机策略的方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神经网络的策略梯度，信任区域策略优化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近端策略优化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dirty="0">
                <a:solidFill>
                  <a:srgbClr val="00B0F0"/>
                </a:solidFill>
                <a:ea typeface="阿里巴巴普惠体 R" panose="00020600040101010101" pitchFamily="18" charset="-122"/>
              </a:rPr>
              <a:t>A3C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确定性策略的方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梯度（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</a:p>
        </p:txBody>
      </p:sp>
    </p:spTree>
    <p:extLst>
      <p:ext uri="{BB962C8B-B14F-4D97-AF65-F5344CB8AC3E}">
        <p14:creationId xmlns:p14="http://schemas.microsoft.com/office/powerpoint/2010/main" val="13759523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/>
              <a:t>实验结果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10553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F82185E5-E8A4-410E-913C-A946EEAE4D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0764"/>
          <a:stretch/>
        </p:blipFill>
        <p:spPr>
          <a:xfrm>
            <a:off x="1388283" y="3759957"/>
            <a:ext cx="6657071" cy="236945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训练曲线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3635" y="6343654"/>
            <a:ext cx="4512902" cy="206381"/>
          </a:xfrm>
        </p:spPr>
        <p:txBody>
          <a:bodyPr/>
          <a:lstStyle/>
          <a:p>
            <a:r>
              <a:rPr lang="en-US" altLang="zh-CN" dirty="0"/>
              <a:t>John Schulman. Trust Region Policy Optimization. ICML 2015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0F11471-3B9F-4271-AC62-DB36BE1F58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04" y="4469641"/>
            <a:ext cx="975511" cy="97551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068961C-5958-46B1-B487-F6B3AF1D09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354" y="4469640"/>
            <a:ext cx="975512" cy="975512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519F738-37EE-4734-8AE4-571E6E9812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1534" y="1080729"/>
            <a:ext cx="6258329" cy="228157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06DC69E4-5B71-4FA3-AC40-6767FC80B07B}"/>
              </a:ext>
            </a:extLst>
          </p:cNvPr>
          <p:cNvSpPr txBox="1"/>
          <p:nvPr/>
        </p:nvSpPr>
        <p:spPr>
          <a:xfrm>
            <a:off x="1985455" y="3177635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ingle path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8C7792D-38C5-46A9-BE6F-089F16559B63}"/>
              </a:ext>
            </a:extLst>
          </p:cNvPr>
          <p:cNvSpPr txBox="1"/>
          <p:nvPr/>
        </p:nvSpPr>
        <p:spPr>
          <a:xfrm>
            <a:off x="6516382" y="3177635"/>
            <a:ext cx="642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V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128184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结果比较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64EC540-9B12-494C-BA44-9788EDACF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410" y="2406742"/>
            <a:ext cx="8709180" cy="2044516"/>
          </a:xfrm>
          <a:prstGeom prst="rect">
            <a:avLst/>
          </a:prstGeom>
        </p:spPr>
      </p:pic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F53A867E-DA5E-9ED7-2BF4-E60433B8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635" y="6343654"/>
            <a:ext cx="4512902" cy="206381"/>
          </a:xfrm>
        </p:spPr>
        <p:txBody>
          <a:bodyPr/>
          <a:lstStyle/>
          <a:p>
            <a:r>
              <a:rPr lang="en-US" altLang="zh-CN" dirty="0"/>
              <a:t>John Schulman. Trust Region Policy Optimization. ICML 2015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631150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A23DA589-80B9-4114-84BA-247BD953D9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64"/>
          <a:stretch/>
        </p:blipFill>
        <p:spPr>
          <a:xfrm>
            <a:off x="605009" y="4263880"/>
            <a:ext cx="7791516" cy="235028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推荐阅读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87377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PPO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3D5CE61E-4FE8-410B-BB21-92C73C7DBF05}"/>
              </a:ext>
            </a:extLst>
          </p:cNvPr>
          <p:cNvSpPr txBox="1">
            <a:spLocks/>
          </p:cNvSpPr>
          <p:nvPr/>
        </p:nvSpPr>
        <p:spPr>
          <a:xfrm>
            <a:off x="502441" y="1938727"/>
            <a:ext cx="8317219" cy="23491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不足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近似带来误差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约束优化问题的困难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理论更简洁，操作更简单，实验效果更好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荐阅读 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roximal Policy Optimization Algorithms, </a:t>
            </a:r>
            <a:r>
              <a:rPr lang="en-US" altLang="zh-CN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ohn Schulman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et al. (2017)</a:t>
            </a:r>
            <a:endParaRPr lang="en-US" u="sng" dirty="0">
              <a:hlinkClick r:id="rId3"/>
            </a:endParaRPr>
          </a:p>
          <a:p>
            <a:pPr lvl="1"/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29AD3D65-0F82-46A6-A77E-ADE737450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189" y="4173824"/>
            <a:ext cx="1040131" cy="299038"/>
          </a:xfrm>
          <a:prstGeom prst="rect">
            <a:avLst/>
          </a:prstGeom>
        </p:spPr>
      </p:pic>
      <p:pic>
        <p:nvPicPr>
          <p:cNvPr id="9218" name="Picture 2" descr="me">
            <a:extLst>
              <a:ext uri="{FF2B5EF4-FFF2-40B4-BE49-F238E27FC236}">
                <a16:creationId xmlns:a16="http://schemas.microsoft.com/office/drawing/2014/main" id="{35CDDEC3-0E1D-4537-8815-0D70898E9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666" y="1356990"/>
            <a:ext cx="1930586" cy="2098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69065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317728" y="3614479"/>
            <a:ext cx="62039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近端策略优化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en-US" altLang="zh-CN" sz="32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Proximal Policy Optimization</a:t>
            </a:r>
            <a:endParaRPr lang="zh-CN" altLang="en-US" sz="32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660642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回顾</a:t>
            </a:r>
            <a:r>
              <a:rPr lang="en-US" altLang="zh-CN" dirty="0"/>
              <a:t>TRPO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5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5490813"/>
            <a:ext cx="216155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RPO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的不足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3D5CE61E-4FE8-410B-BB21-92C73C7DBF05}"/>
              </a:ext>
            </a:extLst>
          </p:cNvPr>
          <p:cNvSpPr txBox="1">
            <a:spLocks/>
          </p:cNvSpPr>
          <p:nvPr/>
        </p:nvSpPr>
        <p:spPr>
          <a:xfrm>
            <a:off x="2909483" y="5492852"/>
            <a:ext cx="4108323" cy="867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重要性比例带来的大方差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约束优化问题的困难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buNone/>
            </a:pP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B0605413-CCF9-40B9-89E8-91D9C15E4C0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298771"/>
                <a:ext cx="9325049" cy="14785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RPO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L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散度约束策略更新的幅度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func>
                        <m:func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1800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800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𝔼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∼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𝑝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[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𝔼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sz="180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∼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[</m:t>
                                  </m:r>
                                  <m:f>
                                    <m:f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p>
                                  </m:sSup>
                                  <m:sSup>
                                    <m:sSup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𝐴</m:t>
                                      </m:r>
                                    </m:e>
                                    <m:sup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</m:sup>
                                  </m:s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]]</m:t>
                                  </m:r>
                                </m:e>
                              </m:nary>
                            </m:e>
                          </m:func>
                        </m:e>
                      </m:func>
                    </m:oMath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𝑢𝑐h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h𝑎𝑡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𝐷</m:t>
                          </m:r>
                        </m:e>
                        <m: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𝐾𝐿</m:t>
                          </m:r>
                        </m:sub>
                      </m:sSub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  <m:e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∥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  <m:e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≤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𝜖</m:t>
                      </m:r>
                    </m:oMath>
                  </m:oMathPara>
                </a14:m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B0605413-CCF9-40B9-89E8-91D9C15E4C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298771"/>
                <a:ext cx="9325049" cy="1478500"/>
              </a:xfrm>
              <a:prstGeom prst="rect">
                <a:avLst/>
              </a:prstGeom>
              <a:blipFill>
                <a:blip r:embed="rId4"/>
                <a:stretch>
                  <a:fillRect l="-261" t="-20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组合 8">
            <a:extLst>
              <a:ext uri="{FF2B5EF4-FFF2-40B4-BE49-F238E27FC236}">
                <a16:creationId xmlns:a16="http://schemas.microsoft.com/office/drawing/2014/main" id="{6BD5B37C-B2D4-4A72-994F-9138358DBF65}"/>
              </a:ext>
            </a:extLst>
          </p:cNvPr>
          <p:cNvGrpSpPr/>
          <p:nvPr/>
        </p:nvGrpSpPr>
        <p:grpSpPr>
          <a:xfrm>
            <a:off x="1318115" y="3179066"/>
            <a:ext cx="7196385" cy="1076705"/>
            <a:chOff x="813582" y="3964029"/>
            <a:chExt cx="7196385" cy="107670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4">
                  <a:extLst>
                    <a:ext uri="{FF2B5EF4-FFF2-40B4-BE49-F238E27FC236}">
                      <a16:creationId xmlns:a16="http://schemas.microsoft.com/office/drawing/2014/main" id="{7495D53A-7282-4F3D-9457-E6E8F6B69B41}"/>
                    </a:ext>
                  </a:extLst>
                </p:cNvPr>
                <p:cNvSpPr txBox="1"/>
                <p:nvPr/>
              </p:nvSpPr>
              <p:spPr>
                <a:xfrm>
                  <a:off x="813582" y="4119660"/>
                  <a:ext cx="2113863" cy="46403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←</m:t>
                        </m:r>
                        <m:func>
                          <m:func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rg</m:t>
                            </m:r>
                          </m:fName>
                          <m:e>
                            <m:func>
                              <m:func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funcPr>
                              <m:fName>
                                <m:limLow>
                                  <m:limLow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limLow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altLang="zh-CN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max</m:t>
                                    </m:r>
                                  </m:e>
                                  <m:lim>
                                    <m:sSup>
                                      <m:s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e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lim>
                                </m:limLow>
                              </m:fName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 </m:t>
                                </m:r>
                              </m:e>
                            </m:func>
                          </m:e>
                        </m:func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94B5B9CD-4C16-42FA-B4B3-91BE6EA651E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3582" y="4119660"/>
                  <a:ext cx="2113863" cy="464038"/>
                </a:xfrm>
                <a:prstGeom prst="rect">
                  <a:avLst/>
                </a:prstGeom>
                <a:blipFill>
                  <a:blip r:embed="rId7"/>
                  <a:stretch>
                    <a:fillRect b="-2632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矩形 10">
                  <a:extLst>
                    <a:ext uri="{FF2B5EF4-FFF2-40B4-BE49-F238E27FC236}">
                      <a16:creationId xmlns:a16="http://schemas.microsoft.com/office/drawing/2014/main" id="{44553DD9-B7F3-4202-9C24-173F17C7788D}"/>
                    </a:ext>
                  </a:extLst>
                </p:cNvPr>
                <p:cNvSpPr/>
                <p:nvPr/>
              </p:nvSpPr>
              <p:spPr>
                <a:xfrm>
                  <a:off x="2585340" y="3964029"/>
                  <a:ext cx="5424627" cy="10767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eqArr>
                          <m:eqArr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eqArrPr>
                          <m:e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naryPr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𝔼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∼</m:t>
                                    </m:r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𝑝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[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𝔼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∼</m:t>
                                    </m:r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[</m:t>
                                </m:r>
                                <m:f>
                                  <m:f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sSup>
                                          <m:sSup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𝜃</m:t>
                                            </m:r>
                                          </m:e>
                                          <m:sup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′</m:t>
                                            </m:r>
                                          </m:sup>
                                        </m:sSup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  <a:ea typeface="阿里巴巴普惠体 R" panose="00020600040101010101" pitchFamily="18" charset="-122"/>
                                                <a:cs typeface="阿里巴巴普惠体 R" panose="00020600040101010101" pitchFamily="18" charset="-122"/>
                                              </a:rPr>
                                              <m:t>𝑡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den>
                                </m:f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𝛾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p>
                                </m:sSup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𝐴</m:t>
                                    </m:r>
                                  </m:e>
                                  <m:sup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𝜋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sub>
                                    </m:sSub>
                                  </m:sup>
                                </m:s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)]]</m:t>
                                </m:r>
                              </m:e>
                            </m:nary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𝜆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𝐾𝐿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sSup>
                                  <m:sSup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′</m:t>
                                    </m:r>
                                  </m:sup>
                                </m:sSup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∥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−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𝜖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e>
                        </m:eqAr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3" name="矩形 2">
                  <a:extLst>
                    <a:ext uri="{FF2B5EF4-FFF2-40B4-BE49-F238E27FC236}">
                      <a16:creationId xmlns:a16="http://schemas.microsoft.com/office/drawing/2014/main" id="{48A4BEF0-A755-4567-ABB3-B3ABB54139E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85340" y="3964029"/>
                  <a:ext cx="5424627" cy="1076705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FD8E4C22-8D78-4DF1-9FA5-3CBB6A42E878}"/>
              </a:ext>
            </a:extLst>
          </p:cNvPr>
          <p:cNvSpPr txBox="1">
            <a:spLocks/>
          </p:cNvSpPr>
          <p:nvPr/>
        </p:nvSpPr>
        <p:spPr>
          <a:xfrm>
            <a:off x="502441" y="2777271"/>
            <a:ext cx="9325049" cy="567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onstraint violate as penalt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8E485C54-5981-4F65-91CB-23D0EF2EFCA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38861" y="4430624"/>
                <a:ext cx="5671539" cy="69549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800100" lvl="1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上式，更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p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buFont typeface="+mj-lt"/>
                  <a:buAutoNum type="arabicPeriod"/>
                </a:pPr>
                <a14:m>
                  <m:oMath xmlns:m="http://schemas.openxmlformats.org/officeDocument/2006/math">
                    <m:r>
                      <a:rPr lang="zh-CN" altLang="en-US" sz="160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更新</m:t>
                    </m:r>
                    <m:r>
                      <a:rPr lang="en-US" altLang="zh-CN" sz="1600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𝜆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𝜆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</m:oMath>
                </a14:m>
                <a:r>
                  <a:rPr lang="en-US" altLang="zh-CN" sz="16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α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𝐷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𝐾𝐿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sSup>
                          <m:sSup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∥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−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8E485C54-5981-4F65-91CB-23D0EF2EFC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8861" y="4430624"/>
                <a:ext cx="5671539" cy="695492"/>
              </a:xfrm>
              <a:prstGeom prst="rect">
                <a:avLst/>
              </a:prstGeom>
              <a:blipFill>
                <a:blip r:embed="rId9"/>
                <a:stretch>
                  <a:fillRect t="-6140" b="-1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页脚占位符 2">
            <a:extLst>
              <a:ext uri="{FF2B5EF4-FFF2-40B4-BE49-F238E27FC236}">
                <a16:creationId xmlns:a16="http://schemas.microsoft.com/office/drawing/2014/main" id="{FB2B2A4A-CE4B-5118-FAD3-5680CF41A8DD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</p:spTree>
    <p:extLst>
      <p:ext uri="{BB962C8B-B14F-4D97-AF65-F5344CB8AC3E}">
        <p14:creationId xmlns:p14="http://schemas.microsoft.com/office/powerpoint/2010/main" val="33795976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PPO: Proximal Policy Optimizatio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 dirty="0"/>
          </a:p>
        </p:txBody>
      </p:sp>
      <p:sp>
        <p:nvSpPr>
          <p:cNvPr id="9" name="页脚占位符 2">
            <a:extLst>
              <a:ext uri="{FF2B5EF4-FFF2-40B4-BE49-F238E27FC236}">
                <a16:creationId xmlns:a16="http://schemas.microsoft.com/office/drawing/2014/main" id="{482157C7-FB91-46DD-A2EC-6B6D4C8B2364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08685091-2AD7-4BB4-9607-C617C0469843}"/>
              </a:ext>
            </a:extLst>
          </p:cNvPr>
          <p:cNvSpPr txBox="1">
            <a:spLocks/>
          </p:cNvSpPr>
          <p:nvPr/>
        </p:nvSpPr>
        <p:spPr>
          <a:xfrm>
            <a:off x="502441" y="1739217"/>
            <a:ext cx="8317219" cy="406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截断式优化目标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25060E27-BB38-4CB2-BFD0-DFB9A81960A3}"/>
                  </a:ext>
                </a:extLst>
              </p:cNvPr>
              <p:cNvSpPr/>
              <p:nvPr/>
            </p:nvSpPr>
            <p:spPr>
              <a:xfrm>
                <a:off x="2620790" y="2145617"/>
                <a:ext cx="4698787" cy="723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𝐶𝑃𝐼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acc>
                            <m:accPr>
                              <m:chr m:val="̂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altLang="zh-CN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old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25060E27-BB38-4CB2-BFD0-DFB9A81960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0790" y="2145617"/>
                <a:ext cx="4698787" cy="723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4755706A-25A2-4F83-A5FE-D9E4160A34A9}"/>
                  </a:ext>
                </a:extLst>
              </p:cNvPr>
              <p:cNvSpPr/>
              <p:nvPr/>
            </p:nvSpPr>
            <p:spPr>
              <a:xfrm>
                <a:off x="2579846" y="3022352"/>
                <a:ext cx="5859232" cy="41524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𝐶𝐿𝐼𝑃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acc>
                            <m:accPr>
                              <m:chr m:val="̂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</m:d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US" altLang="zh-CN" i="1">
                                              <a:solidFill>
                                                <a:srgbClr val="00B0F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solidFill>
                                                <a:srgbClr val="00B0F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𝐴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clip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1−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𝜖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1+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𝜖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US" altLang="zh-CN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𝐴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func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4755706A-25A2-4F83-A5FE-D9E4160A34A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9846" y="3022352"/>
                <a:ext cx="5859232" cy="415242"/>
              </a:xfrm>
              <a:prstGeom prst="rect">
                <a:avLst/>
              </a:prstGeom>
              <a:blipFill>
                <a:blip r:embed="rId5"/>
                <a:stretch>
                  <a:fillRect t="-4412" b="-58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图片 12">
            <a:extLst>
              <a:ext uri="{FF2B5EF4-FFF2-40B4-BE49-F238E27FC236}">
                <a16:creationId xmlns:a16="http://schemas.microsoft.com/office/drawing/2014/main" id="{E72BC2A6-2854-48DB-A6FD-5ECE59A1D6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738" y="3745883"/>
            <a:ext cx="5222327" cy="2318649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7DC3719-E948-4D8C-A2E7-F9AECA4287DD}"/>
              </a:ext>
            </a:extLst>
          </p:cNvPr>
          <p:cNvSpPr/>
          <p:nvPr/>
        </p:nvSpPr>
        <p:spPr>
          <a:xfrm>
            <a:off x="709467" y="2155474"/>
            <a:ext cx="18972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dirty="0">
                <a:latin typeface="CMR10"/>
              </a:rPr>
              <a:t>conservative policy iteration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35CD1EA5-1058-4CCB-813C-B0C1421DD5D4}"/>
                  </a:ext>
                </a:extLst>
              </p:cNvPr>
              <p:cNvSpPr/>
              <p:nvPr/>
            </p:nvSpPr>
            <p:spPr>
              <a:xfrm>
                <a:off x="6253835" y="4234955"/>
                <a:ext cx="2101153" cy="3702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𝐶𝐿𝐼𝑃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≤</m:t>
                      </m:r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𝐶𝑃𝐼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35CD1EA5-1058-4CCB-813C-B0C1421DD5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3835" y="4234955"/>
                <a:ext cx="2101153" cy="37023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矩形 15">
            <a:extLst>
              <a:ext uri="{FF2B5EF4-FFF2-40B4-BE49-F238E27FC236}">
                <a16:creationId xmlns:a16="http://schemas.microsoft.com/office/drawing/2014/main" id="{D9720EA7-8A7D-4F2E-8702-07C140E95D52}"/>
              </a:ext>
            </a:extLst>
          </p:cNvPr>
          <p:cNvSpPr/>
          <p:nvPr/>
        </p:nvSpPr>
        <p:spPr>
          <a:xfrm>
            <a:off x="6253835" y="3830750"/>
            <a:ext cx="16926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ea typeface="阿里巴巴普惠体 R" panose="00020600040101010101"/>
              </a:rPr>
              <a:t>构建下界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5FC4FA48-3973-48BF-B5E6-C3C040AC7DEA}"/>
                  </a:ext>
                </a:extLst>
              </p:cNvPr>
              <p:cNvSpPr/>
              <p:nvPr/>
            </p:nvSpPr>
            <p:spPr>
              <a:xfrm>
                <a:off x="6372500" y="5316999"/>
                <a:ext cx="2101153" cy="3702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𝐶𝐿𝐼𝑃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𝐶𝑃𝐼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5FC4FA48-3973-48BF-B5E6-C3C040AC7D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2500" y="5316999"/>
                <a:ext cx="2101153" cy="37023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A220F966-1AAC-4F5A-87D1-25237816F11F}"/>
                  </a:ext>
                </a:extLst>
              </p:cNvPr>
              <p:cNvSpPr/>
              <p:nvPr/>
            </p:nvSpPr>
            <p:spPr>
              <a:xfrm>
                <a:off x="6253834" y="4934117"/>
                <a:ext cx="2003061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ea typeface="阿里巴巴普惠体 R" panose="00020600040101010101"/>
                  </a:rPr>
                  <a:t>在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zh-CN" altLang="en-US" dirty="0">
                    <a:ea typeface="阿里巴巴普惠体 R" panose="00020600040101010101"/>
                  </a:rPr>
                  <a:t>附近相等</a:t>
                </a:r>
              </a:p>
            </p:txBody>
          </p:sp>
        </mc:Choice>
        <mc:Fallback xmlns=""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A220F966-1AAC-4F5A-87D1-25237816F11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3834" y="4934117"/>
                <a:ext cx="2003061" cy="369332"/>
              </a:xfrm>
              <a:prstGeom prst="rect">
                <a:avLst/>
              </a:prstGeom>
              <a:blipFill>
                <a:blip r:embed="rId9"/>
                <a:stretch>
                  <a:fillRect l="-2744" t="-8197" b="-245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占位符 3">
            <a:extLst>
              <a:ext uri="{FF2B5EF4-FFF2-40B4-BE49-F238E27FC236}">
                <a16:creationId xmlns:a16="http://schemas.microsoft.com/office/drawing/2014/main" id="{D87A224B-E343-4DD4-B938-960052134043}"/>
              </a:ext>
            </a:extLst>
          </p:cNvPr>
          <p:cNvSpPr txBox="1">
            <a:spLocks/>
          </p:cNvSpPr>
          <p:nvPr/>
        </p:nvSpPr>
        <p:spPr>
          <a:xfrm>
            <a:off x="502443" y="1193040"/>
            <a:ext cx="342811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础上的改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632755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PPO: Proximal Policy Optimizatio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08685091-2AD7-4BB4-9607-C617C04698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3677749"/>
                <a:ext cx="8317219" cy="4064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 typeface="+mj-lt"/>
                  <a:buAutoNum type="arabicPeriod" startAt="2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势函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acc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acc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zh-CN" altLang="en-US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选用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步时序差分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08685091-2AD7-4BB4-9607-C617C04698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3677749"/>
                <a:ext cx="8317219" cy="406400"/>
              </a:xfrm>
              <a:prstGeom prst="rect">
                <a:avLst/>
              </a:prstGeom>
              <a:blipFill>
                <a:blip r:embed="rId4"/>
                <a:stretch>
                  <a:fillRect l="-513" t="-5970" b="-164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占位符 3">
            <a:extLst>
              <a:ext uri="{FF2B5EF4-FFF2-40B4-BE49-F238E27FC236}">
                <a16:creationId xmlns:a16="http://schemas.microsoft.com/office/drawing/2014/main" id="{D87A224B-E343-4DD4-B938-960052134043}"/>
              </a:ext>
            </a:extLst>
          </p:cNvPr>
          <p:cNvSpPr txBox="1">
            <a:spLocks/>
          </p:cNvSpPr>
          <p:nvPr/>
        </p:nvSpPr>
        <p:spPr>
          <a:xfrm>
            <a:off x="502443" y="1193040"/>
            <a:ext cx="342811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础上的改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3F791360-DF38-4193-AB1C-2BC6C9D10039}"/>
                  </a:ext>
                </a:extLst>
              </p:cNvPr>
              <p:cNvSpPr/>
              <p:nvPr/>
            </p:nvSpPr>
            <p:spPr>
              <a:xfrm>
                <a:off x="2620790" y="2145617"/>
                <a:ext cx="4698787" cy="723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𝐶𝑃𝐼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acc>
                            <m:accPr>
                              <m:chr m:val="̂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altLang="zh-CN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old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3F791360-DF38-4193-AB1C-2BC6C9D100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0790" y="2145617"/>
                <a:ext cx="4698787" cy="723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F10255BC-6807-4B94-BB32-1E907074F50C}"/>
                  </a:ext>
                </a:extLst>
              </p:cNvPr>
              <p:cNvSpPr/>
              <p:nvPr/>
            </p:nvSpPr>
            <p:spPr>
              <a:xfrm>
                <a:off x="2579846" y="3022352"/>
                <a:ext cx="5859232" cy="41524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𝐶𝐿𝐼𝑃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acc>
                            <m:accPr>
                              <m:chr m:val="̂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</m:d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US" altLang="zh-CN" i="1">
                                              <a:solidFill>
                                                <a:srgbClr val="00B0F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solidFill>
                                                <a:srgbClr val="00B0F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𝐴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clip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1−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𝜖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1+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𝜖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US" altLang="zh-CN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𝐴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func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F10255BC-6807-4B94-BB32-1E907074F50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9846" y="3022352"/>
                <a:ext cx="5859232" cy="415242"/>
              </a:xfrm>
              <a:prstGeom prst="rect">
                <a:avLst/>
              </a:prstGeom>
              <a:blipFill>
                <a:blip r:embed="rId6"/>
                <a:stretch>
                  <a:fillRect t="-4412" b="-58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矩形 12">
            <a:extLst>
              <a:ext uri="{FF2B5EF4-FFF2-40B4-BE49-F238E27FC236}">
                <a16:creationId xmlns:a16="http://schemas.microsoft.com/office/drawing/2014/main" id="{6BAFD5DE-CAB7-470E-8C85-D383884CAA11}"/>
              </a:ext>
            </a:extLst>
          </p:cNvPr>
          <p:cNvSpPr/>
          <p:nvPr/>
        </p:nvSpPr>
        <p:spPr>
          <a:xfrm>
            <a:off x="709467" y="2155474"/>
            <a:ext cx="18972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dirty="0">
                <a:latin typeface="CMR10"/>
              </a:rPr>
              <a:t>conservative policy iteration</a:t>
            </a:r>
            <a:endParaRPr lang="zh-CN" alt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F53C207-244D-400E-A3A2-951077F5A509}"/>
              </a:ext>
            </a:extLst>
          </p:cNvPr>
          <p:cNvSpPr txBox="1">
            <a:spLocks/>
          </p:cNvSpPr>
          <p:nvPr/>
        </p:nvSpPr>
        <p:spPr>
          <a:xfrm>
            <a:off x="502441" y="1739217"/>
            <a:ext cx="8317219" cy="406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截断式优化目标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BF0F6F9C-B990-41AC-8A38-D83D3C4AE553}"/>
                  </a:ext>
                </a:extLst>
              </p:cNvPr>
              <p:cNvSpPr/>
              <p:nvPr/>
            </p:nvSpPr>
            <p:spPr>
              <a:xfrm>
                <a:off x="1940649" y="4211901"/>
                <a:ext cx="5933997" cy="378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altLang="zh-CN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accPr>
                          <m:e>
                            <m:r>
                              <a:rPr lang="en-US" altLang="zh-CN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acc>
                      </m:e>
                      <m:sub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=−</m:t>
                    </m:r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</m:t>
                    </m:r>
                    <m:sSub>
                      <m:sSub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𝛾</m:t>
                    </m:r>
                    <m:sSub>
                      <m:sSub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⋯+</m:t>
                    </m:r>
                    <m:sSup>
                      <m:sSup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𝛾</m:t>
                        </m:r>
                      </m:e>
                      <m:sup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𝑇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+1</m:t>
                        </m:r>
                      </m:sup>
                    </m:sSup>
                    <m:sSub>
                      <m:sSub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𝑇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−1</m:t>
                        </m:r>
                      </m:sub>
                    </m:sSub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+</m:t>
                    </m:r>
                  </m:oMath>
                </a14:m>
                <a:r>
                  <a:rPr lang="en-US" altLang="zh-CN" dirty="0">
                    <a:solidFill>
                      <a:srgbClr val="00B0F0"/>
                    </a:solidFill>
                    <a:ea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𝛾</m:t>
                        </m:r>
                      </m:e>
                      <m:sup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𝑇</m:t>
                        </m:r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p>
                    </m:sSup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𝑇</m:t>
                        </m:r>
                      </m:sub>
                    </m:sSub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BF0F6F9C-B990-41AC-8A38-D83D3C4AE55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0649" y="4211901"/>
                <a:ext cx="5933997" cy="378758"/>
              </a:xfrm>
              <a:prstGeom prst="rect">
                <a:avLst/>
              </a:prstGeom>
              <a:blipFill>
                <a:blip r:embed="rId7"/>
                <a:stretch>
                  <a:fillRect t="-6452" b="-1451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A4F77794-0DB3-4B2E-A3FE-89EDAD789B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4822262"/>
                <a:ext cx="8317219" cy="11486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742950" lvl="1" indent="-342900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每次迭代中，并行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收集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经验数据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742950" lvl="1" indent="-342900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每步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altLang="zh-CN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accPr>
                          <m:e>
                            <m:r>
                              <a:rPr lang="en-US" altLang="zh-CN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acc>
                      </m:e>
                      <m:sub>
                        <m:r>
                          <a:rPr lang="en-US" altLang="zh-CN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 </m:t>
                    </m:r>
                    <m:r>
                      <a:rPr lang="zh-CN" altLang="en-US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和</m:t>
                    </m:r>
                    <m:sSup>
                      <m:sSup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𝐿</m:t>
                        </m:r>
                      </m:e>
                      <m:sup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𝐶𝐿𝐼𝑃</m:t>
                        </m:r>
                      </m:sup>
                    </m:sSup>
                    <m:d>
                      <m:d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</m:d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构成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ini-batch</a:t>
                </a:r>
              </a:p>
              <a:p>
                <a:pPr marL="742950" lvl="1" indent="-342900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参数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zh-CN" altLang="en-US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并更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1600" b="0" i="0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old</m:t>
                        </m:r>
                      </m:sub>
                    </m:sSub>
                    <m:r>
                      <a:rPr lang="en-US" altLang="zh-CN" sz="1600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A4F77794-0DB3-4B2E-A3FE-89EDAD789B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4822262"/>
                <a:ext cx="8317219" cy="1148634"/>
              </a:xfrm>
              <a:prstGeom prst="rect">
                <a:avLst/>
              </a:prstGeom>
              <a:blipFill>
                <a:blip r:embed="rId8"/>
                <a:stretch>
                  <a:fillRect t="-15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页脚占位符 2">
            <a:extLst>
              <a:ext uri="{FF2B5EF4-FFF2-40B4-BE49-F238E27FC236}">
                <a16:creationId xmlns:a16="http://schemas.microsoft.com/office/drawing/2014/main" id="{98C9F0DD-D9DE-9197-9D09-0FA077719ED6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</p:spTree>
    <p:extLst>
      <p:ext uri="{BB962C8B-B14F-4D97-AF65-F5344CB8AC3E}">
        <p14:creationId xmlns:p14="http://schemas.microsoft.com/office/powerpoint/2010/main" val="300607932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PPO: Proximal Policy Optimizatio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08685091-2AD7-4BB4-9607-C617C0469843}"/>
              </a:ext>
            </a:extLst>
          </p:cNvPr>
          <p:cNvSpPr txBox="1">
            <a:spLocks/>
          </p:cNvSpPr>
          <p:nvPr/>
        </p:nvSpPr>
        <p:spPr>
          <a:xfrm>
            <a:off x="502441" y="1739217"/>
            <a:ext cx="8317219" cy="406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 startAt="3"/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适应的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L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惩罚项参数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25060E27-BB38-4CB2-BFD0-DFB9A81960A3}"/>
                  </a:ext>
                </a:extLst>
              </p:cNvPr>
              <p:cNvSpPr/>
              <p:nvPr/>
            </p:nvSpPr>
            <p:spPr>
              <a:xfrm>
                <a:off x="996706" y="2145617"/>
                <a:ext cx="6355779" cy="723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𝐿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𝐾𝐿𝑃𝐸𝑁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acc>
                            <m:accPr>
                              <m:chr m:val="̂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altLang="zh-CN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old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  <m:r>
                            <m:rPr>
                              <m:sty m:val="p"/>
                            </m:rPr>
                            <a:rPr lang="en-US" altLang="zh-CN" b="0" i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KL</m:t>
                          </m:r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[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old</m:t>
                                  </m:r>
                                </m:sub>
                              </m:sSub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⋅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⋅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]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25060E27-BB38-4CB2-BFD0-DFB9A81960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6706" y="2145617"/>
                <a:ext cx="6355779" cy="723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占位符 3">
            <a:extLst>
              <a:ext uri="{FF2B5EF4-FFF2-40B4-BE49-F238E27FC236}">
                <a16:creationId xmlns:a16="http://schemas.microsoft.com/office/drawing/2014/main" id="{D87A224B-E343-4DD4-B938-960052134043}"/>
              </a:ext>
            </a:extLst>
          </p:cNvPr>
          <p:cNvSpPr txBox="1">
            <a:spLocks/>
          </p:cNvSpPr>
          <p:nvPr/>
        </p:nvSpPr>
        <p:spPr>
          <a:xfrm>
            <a:off x="502443" y="1193040"/>
            <a:ext cx="342811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础上的改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1A24D095-4F98-4307-94BC-46BA5E2ACE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00752" y="3345128"/>
                <a:ext cx="7918908" cy="226410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态调整</a:t>
                </a:r>
                <a14:m>
                  <m:oMath xmlns:m="http://schemas.openxmlformats.org/officeDocument/2006/math">
                    <m:r>
                      <a:rPr lang="en-US" altLang="zh-CN" sz="1800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方法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L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 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𝑑</m:t>
                    </m:r>
                    <m:r>
                      <a:rPr lang="en-US" altLang="zh-CN" sz="1800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acc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𝔼</m:t>
                            </m:r>
                          </m:e>
                        </m:acc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80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en-US" altLang="zh-CN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altLang="zh-CN" sz="18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KL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altLang="zh-CN" sz="18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𝜃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</a:rPr>
                                      <m:t>old</m:t>
                                    </m:r>
                                  </m:sub>
                                </m:sSub>
                              </m:sub>
                            </m:sSub>
                            <m:d>
                              <m:dPr>
                                <m:ctrlP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⋅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e>
                          <m:e>
                            <m:sSub>
                              <m:sSubPr>
                                <m:ctrlP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𝜃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⋅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</m:d>
                  </m:oMath>
                </a14:m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buFont typeface="+mj-lt"/>
                  <a:buAutoNum type="alphaLcParenR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𝑑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&lt;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𝑑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1600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targ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/1.5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更新</a:t>
                </a:r>
                <a14:m>
                  <m:oMath xmlns:m="http://schemas.openxmlformats.org/officeDocument/2006/math">
                    <m:r>
                      <a:rPr lang="en-US" altLang="zh-CN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  <m:r>
                      <a:rPr lang="en-US" altLang="zh-CN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  <m:r>
                      <a:rPr lang="en-US" altLang="zh-CN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/2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buFont typeface="+mj-lt"/>
                  <a:buAutoNum type="alphaLcParenR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𝑑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&gt;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𝑑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16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targ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×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1.5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更新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en-US" altLang="zh-CN" sz="160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2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buFont typeface="+mj-lt"/>
                  <a:buAutoNum type="alphaLcParenR"/>
                </a:pP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1A24D095-4F98-4307-94BC-46BA5E2ACE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0752" y="3345128"/>
                <a:ext cx="7918908" cy="2264102"/>
              </a:xfrm>
              <a:prstGeom prst="rect">
                <a:avLst/>
              </a:prstGeom>
              <a:blipFill>
                <a:blip r:embed="rId5"/>
                <a:stretch>
                  <a:fillRect l="-693" t="-16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文本框 2">
            <a:extLst>
              <a:ext uri="{FF2B5EF4-FFF2-40B4-BE49-F238E27FC236}">
                <a16:creationId xmlns:a16="http://schemas.microsoft.com/office/drawing/2014/main" id="{7C73F6CD-1E7A-4979-AA2E-5C7223D1D9FE}"/>
              </a:ext>
            </a:extLst>
          </p:cNvPr>
          <p:cNvSpPr txBox="1"/>
          <p:nvPr/>
        </p:nvSpPr>
        <p:spPr>
          <a:xfrm>
            <a:off x="996706" y="5486400"/>
            <a:ext cx="5508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bg1">
                    <a:lumMod val="65000"/>
                  </a:schemeClr>
                </a:solidFill>
                <a:ea typeface="阿里巴巴普惠体 R" panose="00020600040101010101"/>
              </a:rPr>
              <a:t>注：这里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ea typeface="阿里巴巴普惠体 R" panose="00020600040101010101"/>
              </a:rPr>
              <a:t>1.5</a:t>
            </a:r>
            <a:r>
              <a:rPr lang="zh-CN" altLang="en-US" sz="1600" dirty="0">
                <a:solidFill>
                  <a:schemeClr val="bg1">
                    <a:lumMod val="65000"/>
                  </a:schemeClr>
                </a:solidFill>
                <a:ea typeface="阿里巴巴普惠体 R" panose="00020600040101010101"/>
              </a:rPr>
              <a:t>和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ea typeface="阿里巴巴普惠体 R" panose="00020600040101010101"/>
              </a:rPr>
              <a:t>2</a:t>
            </a:r>
            <a:r>
              <a:rPr lang="zh-CN" altLang="en-US" sz="1600" dirty="0">
                <a:solidFill>
                  <a:schemeClr val="bg1">
                    <a:lumMod val="65000"/>
                  </a:schemeClr>
                </a:solidFill>
                <a:ea typeface="阿里巴巴普惠体 R" panose="00020600040101010101"/>
              </a:rPr>
              <a:t>是经验参数，算法效能和它们并不是很敏感</a:t>
            </a:r>
          </a:p>
        </p:txBody>
      </p:sp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77DBFDAF-7CA8-BCA3-8C37-A46A496CF403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</p:spTree>
    <p:extLst>
      <p:ext uri="{BB962C8B-B14F-4D97-AF65-F5344CB8AC3E}">
        <p14:creationId xmlns:p14="http://schemas.microsoft.com/office/powerpoint/2010/main" val="3239364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341C75A-4C37-4565-8CBC-FACF7FB20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E4F8EFE-220E-4016-8E13-5F8B31E59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PO</a:t>
            </a:r>
            <a:r>
              <a:rPr lang="zh-CN" altLang="en-US" dirty="0"/>
              <a:t>实验对比</a:t>
            </a:r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2A3CC47A-1FD3-46FD-8DF0-20769BDE58C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503238" y="1435765"/>
            <a:ext cx="8137525" cy="1229764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2DC9DFE-AF38-4730-9FD2-5F0B22BEA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9486" y="2849337"/>
            <a:ext cx="4699095" cy="320731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8077720C-37D4-410E-9506-355FD5ADB0BB}"/>
              </a:ext>
            </a:extLst>
          </p:cNvPr>
          <p:cNvSpPr txBox="1"/>
          <p:nvPr/>
        </p:nvSpPr>
        <p:spPr>
          <a:xfrm>
            <a:off x="641444" y="3050275"/>
            <a:ext cx="2586251" cy="2305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ea typeface="阿里巴巴普惠体 R" panose="00020600040101010101"/>
              </a:rPr>
              <a:t>7</a:t>
            </a:r>
            <a:r>
              <a:rPr lang="zh-CN" altLang="en-US" sz="1600" dirty="0">
                <a:ea typeface="阿里巴巴普惠体 R" panose="00020600040101010101"/>
              </a:rPr>
              <a:t>个连续控制的环境</a:t>
            </a:r>
            <a:endParaRPr lang="en-US" altLang="zh-CN" sz="1600" dirty="0">
              <a:ea typeface="阿里巴巴普惠体 R" panose="00020600040101010101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ea typeface="阿里巴巴普惠体 R" panose="00020600040101010101"/>
              </a:rPr>
              <a:t>3</a:t>
            </a:r>
            <a:r>
              <a:rPr lang="zh-CN" altLang="en-US" sz="1600" dirty="0">
                <a:ea typeface="阿里巴巴普惠体 R" panose="00020600040101010101"/>
              </a:rPr>
              <a:t>个</a:t>
            </a:r>
            <a:r>
              <a:rPr lang="en-US" altLang="zh-CN" sz="1600" dirty="0">
                <a:ea typeface="阿里巴巴普惠体 R" panose="00020600040101010101"/>
              </a:rPr>
              <a:t>random se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ea typeface="阿里巴巴普惠体 R" panose="00020600040101010101"/>
              </a:rPr>
              <a:t>每个算法跑</a:t>
            </a:r>
            <a:r>
              <a:rPr lang="en-US" altLang="zh-CN" sz="1600" dirty="0">
                <a:ea typeface="阿里巴巴普惠体 R" panose="00020600040101010101"/>
              </a:rPr>
              <a:t>100</a:t>
            </a:r>
            <a:r>
              <a:rPr lang="zh-CN" altLang="en-US" sz="1600" dirty="0">
                <a:ea typeface="阿里巴巴普惠体 R" panose="00020600040101010101"/>
              </a:rPr>
              <a:t>个</a:t>
            </a:r>
            <a:r>
              <a:rPr lang="en-US" altLang="zh-CN" sz="1600" dirty="0">
                <a:ea typeface="阿里巴巴普惠体 R" panose="00020600040101010101"/>
              </a:rPr>
              <a:t>episode</a:t>
            </a:r>
            <a:r>
              <a:rPr lang="zh-CN" altLang="en-US" sz="1600" dirty="0">
                <a:ea typeface="阿里巴巴普惠体 R" panose="00020600040101010101"/>
              </a:rPr>
              <a:t>，跑</a:t>
            </a:r>
            <a:r>
              <a:rPr lang="en-US" altLang="zh-CN" sz="1600" dirty="0">
                <a:ea typeface="阿里巴巴普惠体 R" panose="00020600040101010101"/>
              </a:rPr>
              <a:t>21</a:t>
            </a:r>
            <a:r>
              <a:rPr lang="zh-CN" altLang="en-US" sz="1600" dirty="0">
                <a:ea typeface="阿里巴巴普惠体 R" panose="00020600040101010101"/>
              </a:rPr>
              <a:t>遍，做平均值计算</a:t>
            </a:r>
            <a:endParaRPr lang="en-US" altLang="zh-CN" sz="1600" dirty="0">
              <a:ea typeface="阿里巴巴普惠体 R" panose="00020600040101010101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ea typeface="阿里巴巴普惠体 R" panose="00020600040101010101"/>
              </a:rPr>
              <a:t>最佳</a:t>
            </a:r>
            <a:r>
              <a:rPr lang="en-US" altLang="zh-CN" sz="1600" dirty="0">
                <a:ea typeface="阿里巴巴普惠体 R" panose="00020600040101010101"/>
              </a:rPr>
              <a:t>score</a:t>
            </a:r>
            <a:r>
              <a:rPr lang="zh-CN" altLang="en-US" sz="1600" dirty="0">
                <a:ea typeface="阿里巴巴普惠体 R" panose="00020600040101010101"/>
              </a:rPr>
              <a:t>归一化为</a:t>
            </a:r>
            <a:r>
              <a:rPr lang="en-US" altLang="zh-CN" sz="1600" dirty="0">
                <a:ea typeface="阿里巴巴普惠体 R" panose="00020600040101010101"/>
              </a:rPr>
              <a:t>1</a:t>
            </a:r>
            <a:endParaRPr lang="zh-CN" altLang="en-US" sz="1600" dirty="0">
              <a:ea typeface="阿里巴巴普惠体 R" panose="00020600040101010101"/>
            </a:endParaRPr>
          </a:p>
        </p:txBody>
      </p:sp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9D68E291-6BB8-E6DA-35AA-27C872E4C2F7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</p:spTree>
    <p:extLst>
      <p:ext uri="{BB962C8B-B14F-4D97-AF65-F5344CB8AC3E}">
        <p14:creationId xmlns:p14="http://schemas.microsoft.com/office/powerpoint/2010/main" val="4218087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神经网络的策略梯度</a:t>
            </a: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6B5E5303-3B62-43E6-B88A-B3215FF4C5A4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21449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341C75A-4C37-4565-8CBC-FACF7FB20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E4F8EFE-220E-4016-8E13-5F8B31E59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PO</a:t>
            </a:r>
            <a:r>
              <a:rPr lang="zh-CN" altLang="en-US" dirty="0"/>
              <a:t>实验对比</a:t>
            </a:r>
          </a:p>
        </p:txBody>
      </p:sp>
      <p:pic>
        <p:nvPicPr>
          <p:cNvPr id="13" name="内容占位符 12">
            <a:extLst>
              <a:ext uri="{FF2B5EF4-FFF2-40B4-BE49-F238E27FC236}">
                <a16:creationId xmlns:a16="http://schemas.microsoft.com/office/drawing/2014/main" id="{07283442-93A3-4B27-A625-650AE58CA50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21862" y="1972358"/>
            <a:ext cx="8757402" cy="3575269"/>
          </a:xfrm>
        </p:spPr>
      </p:pic>
      <p:sp>
        <p:nvSpPr>
          <p:cNvPr id="7" name="页脚占位符 2">
            <a:extLst>
              <a:ext uri="{FF2B5EF4-FFF2-40B4-BE49-F238E27FC236}">
                <a16:creationId xmlns:a16="http://schemas.microsoft.com/office/drawing/2014/main" id="{A7792EC6-F73F-CF1B-7C17-68317F903183}"/>
              </a:ext>
            </a:extLst>
          </p:cNvPr>
          <p:cNvSpPr txBox="1">
            <a:spLocks/>
          </p:cNvSpPr>
          <p:nvPr/>
        </p:nvSpPr>
        <p:spPr>
          <a:xfrm>
            <a:off x="502444" y="6343654"/>
            <a:ext cx="45129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John Schulman, et al. Proximal Policy Optimization Algorithms.</a:t>
            </a:r>
            <a:r>
              <a:rPr lang="zh-CN" altLang="en-US" dirty="0"/>
              <a:t> </a:t>
            </a:r>
            <a:r>
              <a:rPr lang="en-US" altLang="zh-CN" dirty="0"/>
              <a:t>2017.</a:t>
            </a:r>
          </a:p>
        </p:txBody>
      </p:sp>
    </p:spTree>
    <p:extLst>
      <p:ext uri="{BB962C8B-B14F-4D97-AF65-F5344CB8AC3E}">
        <p14:creationId xmlns:p14="http://schemas.microsoft.com/office/powerpoint/2010/main" val="31193108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111B423-3DE5-412E-80F7-07118E74D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D1340BF7-AB65-4C2C-B144-045C0095B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深度策略梯度方法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E4A5DD9-0505-4830-BD24-0BED7301E4E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相比价值函数学习最小化</a:t>
            </a:r>
            <a:r>
              <a:rPr lang="en-US" altLang="zh-CN" dirty="0"/>
              <a:t>TD</a:t>
            </a:r>
            <a:r>
              <a:rPr lang="zh-CN" altLang="en-US" dirty="0"/>
              <a:t>误差的目标，策略梯度方法直接优化策略价值的目标更加贴合强化学习本质目标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基于神经网络的策略在优化时容易因为一步走得太大而变得很差，进而下一轮产生很低质量的经验数据，进一步无法学习好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Trust Region</a:t>
            </a:r>
            <a:r>
              <a:rPr lang="zh-CN" altLang="en-US" dirty="0"/>
              <a:t>一类方法限制一步更新前后策略的差距（用</a:t>
            </a:r>
            <a:r>
              <a:rPr lang="en-US" altLang="zh-CN" dirty="0"/>
              <a:t>KL</a:t>
            </a:r>
            <a:r>
              <a:rPr lang="zh-CN" altLang="en-US" dirty="0"/>
              <a:t>散度），进而对策略价值做稳步地提升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PPO</a:t>
            </a:r>
            <a:r>
              <a:rPr lang="zh-CN" altLang="en-US" dirty="0"/>
              <a:t>在</a:t>
            </a:r>
            <a:r>
              <a:rPr lang="en-US" altLang="zh-CN" dirty="0"/>
              <a:t>TRPO</a:t>
            </a:r>
            <a:r>
              <a:rPr lang="zh-CN" altLang="en-US" dirty="0"/>
              <a:t>的基础上进一步通过限制</a:t>
            </a:r>
            <a:r>
              <a:rPr lang="en-US" altLang="zh-CN" dirty="0"/>
              <a:t>importance ratio</a:t>
            </a:r>
            <a:r>
              <a:rPr lang="zh-CN" altLang="en-US" dirty="0"/>
              <a:t>的</a:t>
            </a:r>
            <a:r>
              <a:rPr lang="en-US" altLang="zh-CN" dirty="0"/>
              <a:t>range</a:t>
            </a:r>
            <a:r>
              <a:rPr lang="zh-CN" altLang="en-US" dirty="0"/>
              <a:t>，构建优化目标的下界，进一步保证优化的稳定效果，是目前最常用的深度策略梯度算法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针对连续动作的决定性策略，可以从构建的</a:t>
            </a:r>
            <a:r>
              <a:rPr lang="en-US" altLang="zh-CN" dirty="0"/>
              <a:t>critic</a:t>
            </a:r>
            <a:r>
              <a:rPr lang="zh-CN" altLang="en-US" dirty="0"/>
              <a:t>中直接回传梯度到动作上，然后通过链式法则进一步将梯度回传到策略网络中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分布式的</a:t>
            </a:r>
            <a:r>
              <a:rPr lang="en-US" altLang="zh-CN" dirty="0"/>
              <a:t>actor-critic</a:t>
            </a:r>
            <a:r>
              <a:rPr lang="zh-CN" altLang="en-US" dirty="0"/>
              <a:t>算法能够充分利用多核</a:t>
            </a:r>
            <a:r>
              <a:rPr lang="en-US" altLang="zh-CN" dirty="0"/>
              <a:t>CPU</a:t>
            </a:r>
            <a:r>
              <a:rPr lang="zh-CN" altLang="en-US" dirty="0"/>
              <a:t>资源采样环境的经验数据，利用</a:t>
            </a:r>
            <a:r>
              <a:rPr lang="en-US" altLang="zh-CN" dirty="0"/>
              <a:t>GPU</a:t>
            </a:r>
            <a:r>
              <a:rPr lang="zh-CN" altLang="en-US" dirty="0"/>
              <a:t>资源异步地更新网络，这有效提升了</a:t>
            </a:r>
            <a:r>
              <a:rPr lang="en-US" altLang="zh-CN" dirty="0"/>
              <a:t>DRL</a:t>
            </a:r>
            <a:r>
              <a:rPr lang="zh-CN" altLang="en-US" dirty="0"/>
              <a:t>的训练效率</a:t>
            </a:r>
          </a:p>
        </p:txBody>
      </p:sp>
    </p:spTree>
    <p:extLst>
      <p:ext uri="{BB962C8B-B14F-4D97-AF65-F5344CB8AC3E}">
        <p14:creationId xmlns:p14="http://schemas.microsoft.com/office/powerpoint/2010/main" val="407624996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复习：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定理把似然比的推导过程泛化到多步马尔可夫决策过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长期的价值函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p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代替前面的瞬时奖励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定理涉及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起始状态目标</a:t>
                </a:r>
                <a14:m>
                  <m:oMath xmlns:m="http://schemas.openxmlformats.org/officeDocument/2006/math">
                    <m:r>
                      <a:rPr lang="zh-CN" altLang="en-US" b="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函数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平均奖励目标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𝑅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和平均价值目标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𝑉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任意可微的策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任意策略的目标函数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𝑅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𝑉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策略梯度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4"/>
                <a:stretch>
                  <a:fillRect l="-431" t="-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BDF9B5CE-8052-4A37-B44F-81611A16FD98}"/>
              </a:ext>
            </a:extLst>
          </p:cNvPr>
          <p:cNvSpPr txBox="1"/>
          <p:nvPr/>
        </p:nvSpPr>
        <p:spPr>
          <a:xfrm>
            <a:off x="1113441" y="5475703"/>
            <a:ext cx="69171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00B0F0"/>
                </a:solidFill>
              </a:rPr>
              <a:t>详细证明过程请参考</a:t>
            </a:r>
            <a:r>
              <a:rPr lang="en-US" altLang="zh-CN" sz="1600" dirty="0">
                <a:solidFill>
                  <a:srgbClr val="00B0F0"/>
                </a:solidFill>
              </a:rPr>
              <a:t>Rich Sutton’s Reinforcement Learning: An Introduction (2</a:t>
            </a:r>
            <a:r>
              <a:rPr lang="en-US" altLang="zh-CN" sz="1600" baseline="30000" dirty="0">
                <a:solidFill>
                  <a:srgbClr val="00B0F0"/>
                </a:solidFill>
              </a:rPr>
              <a:t>nd</a:t>
            </a:r>
            <a:r>
              <a:rPr lang="en-US" altLang="zh-CN" sz="1600" dirty="0">
                <a:solidFill>
                  <a:srgbClr val="00B0F0"/>
                </a:solidFill>
              </a:rPr>
              <a:t> Edition)</a:t>
            </a:r>
            <a:r>
              <a:rPr lang="zh-CN" altLang="en-US" sz="1600" dirty="0">
                <a:solidFill>
                  <a:srgbClr val="00B0F0"/>
                </a:solidFill>
              </a:rPr>
              <a:t>第</a:t>
            </a:r>
            <a:r>
              <a:rPr lang="en-US" altLang="zh-CN" sz="1600" dirty="0">
                <a:solidFill>
                  <a:srgbClr val="00B0F0"/>
                </a:solidFill>
              </a:rPr>
              <a:t>13</a:t>
            </a:r>
            <a:r>
              <a:rPr lang="zh-CN" altLang="en-US" sz="1600" dirty="0">
                <a:solidFill>
                  <a:srgbClr val="00B0F0"/>
                </a:solidFill>
              </a:rPr>
              <a:t>章</a:t>
            </a:r>
          </a:p>
        </p:txBody>
      </p:sp>
    </p:spTree>
    <p:extLst>
      <p:ext uri="{BB962C8B-B14F-4D97-AF65-F5344CB8AC3E}">
        <p14:creationId xmlns:p14="http://schemas.microsoft.com/office/powerpoint/2010/main" val="2864760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网络的梯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15464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随机策略，一般采样到每一个行动的概率由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oftmax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实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spcBef>
                    <a:spcPts val="0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1546440"/>
              </a:xfrm>
              <a:prstGeom prst="rect">
                <a:avLst/>
              </a:prstGeom>
              <a:blipFill>
                <a:blip r:embed="rId4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A0238BB9-F50F-46BD-B22A-3CB2CD82E4B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9988" y="2818263"/>
                <a:ext cx="8136730" cy="238835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对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行动队的打分函数，由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化，这可以通过一个</a:t>
                </a: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神经网络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来实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o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形式的梯度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log</m:t>
                              </m:r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p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′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A0238BB9-F50F-46BD-B22A-3CB2CD82E4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988" y="2818263"/>
                <a:ext cx="8136730" cy="2388358"/>
              </a:xfrm>
              <a:prstGeom prst="rect">
                <a:avLst/>
              </a:prstGeom>
              <a:blipFill>
                <a:blip r:embed="rId6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D11D290-4445-4492-BF5D-4E35E72580E3}"/>
                  </a:ext>
                </a:extLst>
              </p:cNvPr>
              <p:cNvSpPr/>
              <p:nvPr/>
            </p:nvSpPr>
            <p:spPr>
              <a:xfrm>
                <a:off x="1531962" y="5255910"/>
                <a:ext cx="6052782" cy="7772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~</m:t>
                          </m:r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)</m:t>
                              </m:r>
                            </m:num>
                            <m:den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D11D290-4445-4492-BF5D-4E35E72580E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1962" y="5255910"/>
                <a:ext cx="6052782" cy="77726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2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网络的梯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15464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lo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梯度形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spcBef>
                    <a:spcPts val="0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log</m:t>
                              </m:r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~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)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1546440"/>
              </a:xfrm>
              <a:prstGeom prst="rect">
                <a:avLst/>
              </a:prstGeom>
              <a:blipFill>
                <a:blip r:embed="rId4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A0238BB9-F50F-46BD-B22A-3CB2CD82E4BF}"/>
              </a:ext>
            </a:extLst>
          </p:cNvPr>
          <p:cNvSpPr txBox="1">
            <a:spLocks/>
          </p:cNvSpPr>
          <p:nvPr/>
        </p:nvSpPr>
        <p:spPr>
          <a:xfrm>
            <a:off x="489988" y="2818263"/>
            <a:ext cx="8136730" cy="23883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网络的梯度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D11D290-4445-4492-BF5D-4E35E72580E3}"/>
                  </a:ext>
                </a:extLst>
              </p:cNvPr>
              <p:cNvSpPr/>
              <p:nvPr/>
            </p:nvSpPr>
            <p:spPr>
              <a:xfrm>
                <a:off x="1401879" y="4511225"/>
                <a:ext cx="6738583" cy="7838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en-US" altLang="zh-CN" sz="20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num>
                                <m:den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~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|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2000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𝑓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(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)</m:t>
                                      </m:r>
                                    </m:num>
                                    <m:den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</m:e>
                              </m:d>
                            </m:e>
                          </m:d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D11D290-4445-4492-BF5D-4E35E72580E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1879" y="4511225"/>
                <a:ext cx="6738583" cy="78386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DF7B21E5-BAB1-4C01-9BC7-6776B0152348}"/>
                  </a:ext>
                </a:extLst>
              </p:cNvPr>
              <p:cNvSpPr/>
              <p:nvPr/>
            </p:nvSpPr>
            <p:spPr>
              <a:xfrm>
                <a:off x="681738" y="3647627"/>
                <a:ext cx="4783113" cy="7772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DF7B21E5-BAB1-4C01-9BC7-6776B015234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3647627"/>
                <a:ext cx="4783113" cy="77726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左大括号 5">
            <a:extLst>
              <a:ext uri="{FF2B5EF4-FFF2-40B4-BE49-F238E27FC236}">
                <a16:creationId xmlns:a16="http://schemas.microsoft.com/office/drawing/2014/main" id="{A8FA8F0E-1559-4C3D-89F9-05D94EFE6129}"/>
              </a:ext>
            </a:extLst>
          </p:cNvPr>
          <p:cNvSpPr/>
          <p:nvPr/>
        </p:nvSpPr>
        <p:spPr>
          <a:xfrm rot="16200000">
            <a:off x="3131304" y="5028344"/>
            <a:ext cx="152739" cy="858908"/>
          </a:xfrm>
          <a:prstGeom prst="lef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左大括号 11">
            <a:extLst>
              <a:ext uri="{FF2B5EF4-FFF2-40B4-BE49-F238E27FC236}">
                <a16:creationId xmlns:a16="http://schemas.microsoft.com/office/drawing/2014/main" id="{032CBDBF-C85D-4D79-83D1-4351D75D644A}"/>
              </a:ext>
            </a:extLst>
          </p:cNvPr>
          <p:cNvSpPr/>
          <p:nvPr/>
        </p:nvSpPr>
        <p:spPr>
          <a:xfrm rot="16200000">
            <a:off x="5817936" y="5028344"/>
            <a:ext cx="152739" cy="858908"/>
          </a:xfrm>
          <a:prstGeom prst="lef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A937BB5-8935-423C-94CC-B231747A0A26}"/>
              </a:ext>
            </a:extLst>
          </p:cNvPr>
          <p:cNvSpPr txBox="1"/>
          <p:nvPr/>
        </p:nvSpPr>
        <p:spPr>
          <a:xfrm>
            <a:off x="2442950" y="5711588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ea typeface="阿里巴巴普惠体 R" panose="00020600040101010101"/>
              </a:rPr>
              <a:t>反向梯度传播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869DE7B4-02D8-48B2-B808-203FA7767BF3}"/>
              </a:ext>
            </a:extLst>
          </p:cNvPr>
          <p:cNvSpPr txBox="1"/>
          <p:nvPr/>
        </p:nvSpPr>
        <p:spPr>
          <a:xfrm>
            <a:off x="5154411" y="5711588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ea typeface="阿里巴巴普惠体 R" panose="00020600040101010101"/>
              </a:rPr>
              <a:t>反向梯度传播</a:t>
            </a:r>
          </a:p>
        </p:txBody>
      </p:sp>
    </p:spTree>
    <p:extLst>
      <p:ext uri="{BB962C8B-B14F-4D97-AF65-F5344CB8AC3E}">
        <p14:creationId xmlns:p14="http://schemas.microsoft.com/office/powerpoint/2010/main" val="1068231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00DE11C-86CD-4596-9A2D-B11C02848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4DCD44A0-C31E-47EF-9A6B-CA414A3C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策略梯度和</a:t>
            </a:r>
            <a:r>
              <a:rPr lang="en-US" altLang="zh-CN" dirty="0"/>
              <a:t>Q</a:t>
            </a:r>
            <a:r>
              <a:rPr lang="zh-CN" altLang="en-US" dirty="0"/>
              <a:t>学习的对比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7F86E005-8360-4C60-84DD-70402D7B5646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502444" y="1180531"/>
                <a:ext cx="8137922" cy="5213445"/>
              </a:xfrm>
            </p:spPr>
            <p:txBody>
              <a:bodyPr>
                <a:norm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2000" i="1" smtClean="0"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r>
                  <a:rPr lang="zh-CN" altLang="en-US" sz="2000" dirty="0"/>
                  <a:t> 学习算法学习一个由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zh-CN" altLang="en-US" sz="2000" dirty="0"/>
                  <a:t> 作为参数的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en-US" altLang="zh-CN" sz="20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2000" dirty="0"/>
              </a:p>
              <a:p>
                <a:pPr lvl="1">
                  <a:spcAft>
                    <a:spcPts val="600"/>
                  </a:spcAft>
                </a:pPr>
                <a:r>
                  <a:rPr lang="zh-CN" altLang="en-US" sz="1800" dirty="0"/>
                  <a:t>优化目标为最小化</a:t>
                </a:r>
                <a:r>
                  <a:rPr lang="en-US" altLang="zh-CN" sz="1800" dirty="0"/>
                  <a:t>TD error</a:t>
                </a:r>
              </a:p>
              <a:p>
                <a:pPr marL="342883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𝐽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800" i="1">
                              <a:latin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𝛾</m:t>
                                  </m:r>
                                  <m:func>
                                    <m:func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limLow>
                                        <m:limLow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limLowPr>
                                        <m:e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CN" sz="1800">
                                              <a:latin typeface="Cambria Math" panose="02040503050406030204" pitchFamily="18" charset="0"/>
                                            </a:rPr>
                                            <m:t>max</m:t>
                                          </m:r>
                                        </m:e>
                                        <m:lim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lim>
                                      </m:limLow>
                                    </m:fName>
                                    <m:e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+1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e>
                                      </m:d>
                                    </m:e>
                                  </m:func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sz="1800" dirty="0"/>
              </a:p>
              <a:p>
                <a:pPr lvl="1">
                  <a:lnSpc>
                    <a:spcPct val="125000"/>
                  </a:lnSpc>
                </a:pPr>
                <a:r>
                  <a:rPr lang="zh-CN" altLang="en-US" sz="1800" dirty="0"/>
                  <a:t>更新方程 </a:t>
                </a:r>
                <a:endParaRPr lang="en-US" altLang="zh-CN" sz="1800" i="1" dirty="0">
                  <a:latin typeface="Cambria Math" panose="02040503050406030204" pitchFamily="18" charset="0"/>
                </a:endParaRPr>
              </a:p>
              <a:p>
                <a:pPr marL="342883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←&amp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𝛼</m:t>
                          </m:r>
                          <m:f>
                            <m:f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=&amp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𝛼</m:t>
                          </m:r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800" i="1">
                                  <a:latin typeface="Cambria Math" panose="02040503050406030204" pitchFamily="18" charset="0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𝛾</m:t>
                                  </m:r>
                                  <m:func>
                                    <m:func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limLow>
                                        <m:limLow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limLowPr>
                                        <m:e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CN" sz="1800">
                                              <a:latin typeface="Cambria Math" panose="02040503050406030204" pitchFamily="18" charset="0"/>
                                            </a:rPr>
                                            <m:t>max</m:t>
                                          </m:r>
                                        </m:e>
                                        <m:lim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lim>
                                      </m:limLow>
                                    </m:fName>
                                    <m:e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𝜃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800" i="1">
                                                  <a:latin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1800" i="1">
                                              <a:latin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func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/>
              </a:p>
              <a:p>
                <a:endParaRPr lang="en-US" altLang="zh-CN" sz="2000" dirty="0"/>
              </a:p>
              <a:p>
                <a:pPr>
                  <a:lnSpc>
                    <a:spcPct val="125000"/>
                  </a:lnSpc>
                </a:pPr>
                <a:r>
                  <a:rPr lang="zh-CN" altLang="en-US" sz="2000" dirty="0"/>
                  <a:t>策略梯度学习一个由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zh-CN" altLang="en-US" sz="2000" dirty="0"/>
                  <a:t> 作为参数的策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endParaRPr lang="en-US" altLang="zh-CN" sz="2000" dirty="0"/>
              </a:p>
              <a:p>
                <a:pPr lvl="1">
                  <a:spcAft>
                    <a:spcPts val="600"/>
                  </a:spcAft>
                </a:pPr>
                <a:r>
                  <a:rPr lang="zh-CN" altLang="en-US" sz="1800" dirty="0"/>
                  <a:t>优化目标直接为策略的价值（</a:t>
                </a:r>
                <a:r>
                  <a:rPr lang="zh-CN" altLang="en-US" sz="1800" dirty="0">
                    <a:solidFill>
                      <a:srgbClr val="00B0F0"/>
                    </a:solidFill>
                  </a:rPr>
                  <a:t>比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r>
                  <a:rPr lang="zh-CN" altLang="en-US" sz="1800" dirty="0">
                    <a:solidFill>
                      <a:srgbClr val="00B0F0"/>
                    </a:solidFill>
                  </a:rPr>
                  <a:t>学习更加直接</a:t>
                </a:r>
                <a:r>
                  <a:rPr lang="zh-CN" altLang="en-US" sz="1800" dirty="0"/>
                  <a:t>）</a:t>
                </a:r>
                <a:endParaRPr lang="en-US" altLang="zh-CN" sz="1800" dirty="0"/>
              </a:p>
              <a:p>
                <a:pPr marL="342883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180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𝜃</m:t>
                          </m:r>
                        </m:lim>
                      </m:limLow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800" i="1">
                              <a:latin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altLang="zh-CN" sz="1800" dirty="0"/>
              </a:p>
              <a:p>
                <a:pPr lvl="1"/>
                <a:r>
                  <a:rPr lang="zh-CN" altLang="en-US" sz="1800" dirty="0"/>
                  <a:t>更新方程</a:t>
                </a:r>
                <a:endParaRPr lang="en-US" altLang="zh-CN" sz="1800" dirty="0"/>
              </a:p>
              <a:p>
                <a:pPr marL="342883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𝛼</m:t>
                      </m:r>
                      <m:f>
                        <m:f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</m:d>
                        </m:num>
                        <m:den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𝜕𝜃</m:t>
                          </m:r>
                        </m:den>
                      </m:f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𝛼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800" i="1">
                              <a:latin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sz="18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sz="18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18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sz="18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8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zh-CN" altLang="en-US" sz="1800" dirty="0"/>
              </a:p>
            </p:txBody>
          </p:sp>
        </mc:Choice>
        <mc:Fallback xmlns=""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7F86E005-8360-4C60-84DD-70402D7B564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502444" y="1180531"/>
                <a:ext cx="8137922" cy="5213445"/>
              </a:xfrm>
              <a:blipFill>
                <a:blip r:embed="rId2"/>
                <a:stretch>
                  <a:fillRect l="-674" t="-128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7919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9.1|23.7|20.5|2.7|26.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5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3.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21</TotalTime>
  <Words>2946</Words>
  <Application>Microsoft Office PowerPoint</Application>
  <PresentationFormat>全屏显示(4:3)</PresentationFormat>
  <Paragraphs>436</Paragraphs>
  <Slides>52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2</vt:i4>
      </vt:variant>
    </vt:vector>
  </HeadingPairs>
  <TitlesOfParts>
    <vt:vector size="67" baseType="lpstr">
      <vt:lpstr>Alibaba PuHuiTi</vt:lpstr>
      <vt:lpstr>CMR10</vt:lpstr>
      <vt:lpstr>NimbusRomNo9L-Medi</vt:lpstr>
      <vt:lpstr>NimbusRomNo9L-Regu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Consolas</vt:lpstr>
      <vt:lpstr>Wingdings</vt:lpstr>
      <vt:lpstr>主题5</vt:lpstr>
      <vt:lpstr>2_主题5</vt:lpstr>
      <vt:lpstr>think-cell Slide</vt:lpstr>
      <vt:lpstr>PowerPoint 演示文稿</vt:lpstr>
      <vt:lpstr>课程大纲</vt:lpstr>
      <vt:lpstr>深度强化学习</vt:lpstr>
      <vt:lpstr>深度强化学习的分类</vt:lpstr>
      <vt:lpstr>PowerPoint 演示文稿</vt:lpstr>
      <vt:lpstr>复习：策略梯度定理</vt:lpstr>
      <vt:lpstr>策略网络的梯度</vt:lpstr>
      <vt:lpstr>策略网络的梯度</vt:lpstr>
      <vt:lpstr>策略梯度和Q学习的对比</vt:lpstr>
      <vt:lpstr>PowerPoint 演示文稿</vt:lpstr>
      <vt:lpstr>复习：Actor-Critic</vt:lpstr>
      <vt:lpstr>复习A2C：优势Actor-Critic</vt:lpstr>
      <vt:lpstr>A3C: 异步A2C方法</vt:lpstr>
      <vt:lpstr>A3C: 异步A2C方法</vt:lpstr>
      <vt:lpstr>A3C算法</vt:lpstr>
      <vt:lpstr>A3C对比实验</vt:lpstr>
      <vt:lpstr>PowerPoint 演示文稿</vt:lpstr>
      <vt:lpstr>深度强化学习的分类</vt:lpstr>
      <vt:lpstr>随机策略与确定性策略</vt:lpstr>
      <vt:lpstr>确定性策略梯度</vt:lpstr>
      <vt:lpstr>确定性策略梯度实验效果</vt:lpstr>
      <vt:lpstr>PowerPoint 演示文稿</vt:lpstr>
      <vt:lpstr>DDPG：深度确定性策略梯度</vt:lpstr>
      <vt:lpstr>DDPG：深度确定性策略梯度</vt:lpstr>
      <vt:lpstr>深度确定性策略梯度实验</vt:lpstr>
      <vt:lpstr>PowerPoint 演示文稿</vt:lpstr>
      <vt:lpstr>PowerPoint 演示文稿</vt:lpstr>
      <vt:lpstr>策略梯度的缺点</vt:lpstr>
      <vt:lpstr>策略梯度算法回顾</vt:lpstr>
      <vt:lpstr>策略梯度的缺点</vt:lpstr>
      <vt:lpstr>TRPO</vt:lpstr>
      <vt:lpstr>策略梯度的优化目标</vt:lpstr>
      <vt:lpstr>优化目标的优化量</vt:lpstr>
      <vt:lpstr>使用重要性采样</vt:lpstr>
      <vt:lpstr>忽略状态分布的差异</vt:lpstr>
      <vt:lpstr>约束策略的变化</vt:lpstr>
      <vt:lpstr>TRPO的原理</vt:lpstr>
      <vt:lpstr>策略改进的 单调性保证 </vt:lpstr>
      <vt:lpstr>策略改进的单调性保证</vt:lpstr>
      <vt:lpstr>实验结果</vt:lpstr>
      <vt:lpstr>训练曲线</vt:lpstr>
      <vt:lpstr>结果比较</vt:lpstr>
      <vt:lpstr>推荐阅读</vt:lpstr>
      <vt:lpstr>PowerPoint 演示文稿</vt:lpstr>
      <vt:lpstr>回顾TRPO</vt:lpstr>
      <vt:lpstr>PPO: Proximal Policy Optimization</vt:lpstr>
      <vt:lpstr>PPO: Proximal Policy Optimization</vt:lpstr>
      <vt:lpstr>PPO: Proximal Policy Optimization</vt:lpstr>
      <vt:lpstr>PPO实验对比</vt:lpstr>
      <vt:lpstr>PPO实验对比</vt:lpstr>
      <vt:lpstr>总结深度策略梯度方法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8-深度强化学习策略方法</dc:title>
  <dc:creator>Weinan Zhang</dc:creator>
  <cp:lastModifiedBy>Zhang Weinan</cp:lastModifiedBy>
  <cp:revision>297</cp:revision>
  <cp:lastPrinted>2019-07-12T11:51:00Z</cp:lastPrinted>
  <dcterms:created xsi:type="dcterms:W3CDTF">2019-04-27T16:00:00Z</dcterms:created>
  <dcterms:modified xsi:type="dcterms:W3CDTF">2022-05-16T09:2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